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34"/>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A26773D6-C9DE-48B8-9803-2A6F576A975A}">
          <p14:sldIdLst>
            <p14:sldId id="2147476952"/>
            <p14:sldId id="2147476953"/>
            <p14:sldId id="2147476954"/>
            <p14:sldId id="2147476955"/>
            <p14:sldId id="2147476956"/>
          </p14:sldIdLst>
        </p14:section>
        <p14:section name="Brand Sourcing Analysis" id="{F13DE261-F95F-48CA-AFC2-D7047FB0A02A}">
          <p14:sldIdLst>
            <p14:sldId id="2147476957"/>
            <p14:sldId id="2147476958"/>
            <p14:sldId id="2147476959"/>
            <p14:sldId id="2147476960"/>
            <p14:sldId id="2147476961"/>
            <p14:sldId id="2147476962"/>
            <p14:sldId id="2147476963"/>
            <p14:sldId id="2147476964"/>
            <p14:sldId id="2147476965"/>
          </p14:sldIdLst>
        </p14:section>
        <p14:section name="Product Sourcing Analysis" id="{76B63F83-F359-494C-A864-1C394A6CD830}">
          <p14:sldIdLst>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Lst>
        </p14:section>
        <p14:section name="Price Elasticity Curve" id="{160FD796-FEF3-4484-9925-A2E27F4F9FB9}">
          <p14:sldIdLst>
            <p14:sldId id="2147477013"/>
            <p14:sldId id="2147477014"/>
            <p14:sldId id="2147477015"/>
            <p14:sldId id="2147477016"/>
            <p14:sldId id="2147477017"/>
            <p14:sldId id="2147477018"/>
            <p14:sldId id="2147477019"/>
            <p14:sldId id="2147477020"/>
            <p14:sldId id="2147477021"/>
            <p14:sldId id="2147477022"/>
            <p14:sldId id="2147477023"/>
            <p14:sldId id="2147477024"/>
            <p14:sldId id="2147477025"/>
            <p14:sldId id="2147477026"/>
            <p14:sldId id="2147477027"/>
            <p14:sldId id="2147477028"/>
          </p14:sldIdLst>
        </p14:section>
        <p14:section name="Revenue Response Analysis" id="{1BCD071D-F155-4083-8C7E-5E80CB923327}">
          <p14:sldIdLst>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Lst>
        </p14:section>
        <p14:section name="Size Elasticity" id="{2C7835BB-6D69-43AB-B5A1-0AA3324700A0}">
          <p14:sldIdLst>
            <p14:sldId id="2147477075"/>
            <p14:sldId id="2147477076"/>
            <p14:sldId id="2147477077"/>
            <p14:sldId id="2147477078"/>
            <p14:sldId id="214747707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63" d="100"/>
          <a:sy n="63" d="100"/>
        </p:scale>
        <p:origin x="1037" y="4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notesMaster" Target="notesMasters/notesMaster1.xml"/><Relationship Id="rId135" Type="http://schemas.openxmlformats.org/officeDocument/2006/relationships/presProps" Target="presProps.xml"/><Relationship Id="rId136" Type="http://schemas.openxmlformats.org/officeDocument/2006/relationships/viewProps" Target="viewProps.xml"/><Relationship Id="rId137" Type="http://schemas.openxmlformats.org/officeDocument/2006/relationships/theme" Target="theme/theme1.xml"/><Relationship Id="rId138" Type="http://schemas.openxmlformats.org/officeDocument/2006/relationships/tableStyles" Target="tableStyles.xml"/><Relationship Id="rId139"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Anna Zarad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Jan Niezbed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Stel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Carrefou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Grosik</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Pacla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Ravi</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Vi G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Zosia Samosi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0</c:f>
              <c:numCache>
                <c:formatCode>General</c:formatCode>
                <c:ptCount val="9"/>
                <c:pt idx="0">
                  <c:v>-1.3842270952383622</c:v>
                </c:pt>
                <c:pt idx="1">
                  <c:v>-1.007925431485873</c:v>
                </c:pt>
                <c:pt idx="2">
                  <c:v>-1.249167386953842</c:v>
                </c:pt>
                <c:pt idx="3">
                  <c:v>-0.7076484790771628</c:v>
                </c:pt>
                <c:pt idx="4">
                  <c:v>-0.7491644163865679</c:v>
                </c:pt>
                <c:pt idx="5">
                  <c:v>-0.8806865051632451</c:v>
                </c:pt>
                <c:pt idx="6">
                  <c:v>-1.0473440112525108</c:v>
                </c:pt>
                <c:pt idx="7">
                  <c:v>-1.5419925827134477</c:v>
                </c:pt>
                <c:pt idx="8">
                  <c:v>-0.5278783889491763</c:v>
                </c:pt>
              </c:numCache>
            </c:numRef>
          </c:xVal>
          <c:yVal>
            <c:numRef>
              <c:f>Sheet1!$B$2:$B$10</c:f>
              <c:numCache>
                <c:formatCode>General</c:formatCode>
                <c:ptCount val="9"/>
                <c:pt idx="0">
                  <c:v>-1.4338299538697574</c:v>
                </c:pt>
                <c:pt idx="1">
                  <c:v>-0.988207756546161</c:v>
                </c:pt>
                <c:pt idx="2">
                  <c:v>-1.1992769249634425</c:v>
                </c:pt>
                <c:pt idx="3">
                  <c:v>-1.195821897188762</c:v>
                </c:pt>
                <c:pt idx="4">
                  <c:v>-1.2557520003608706</c:v>
                </c:pt>
                <c:pt idx="5">
                  <c:v>-1.0101137007769703</c:v>
                </c:pt>
                <c:pt idx="6">
                  <c:v>-1.2201449552340464</c:v>
                </c:pt>
                <c:pt idx="7">
                  <c:v>-1.0833233971509069</c:v>
                </c:pt>
                <c:pt idx="8">
                  <c:v>-0.584082021948117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rosik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Carrefour (16.6%)</c:v>
                </c:pt>
                <c:pt idx="2">
                  <c:v>Jan Niezbedny (20.2%)</c:v>
                </c:pt>
                <c:pt idx="3">
                  <c:v>Stella (16.1%)</c:v>
                </c:pt>
                <c:pt idx="4">
                  <c:v>Anna Zaradna (3.2%)</c:v>
                </c:pt>
                <c:pt idx="5">
                  <c:v>Paclan (2.9%)</c:v>
                </c:pt>
                <c:pt idx="6">
                  <c:v>Ravi (1.1%)</c:v>
                </c:pt>
                <c:pt idx="7">
                  <c:v>Vi Go! (2.2%)</c:v>
                </c:pt>
              </c:strCache>
            </c:strRef>
          </c:cat>
          <c:val>
            <c:numRef>
              <c:f>Sheet1!$B$2:$B$9</c:f>
              <c:numCache>
                <c:formatCode>General</c:formatCode>
                <c:ptCount val="8"/>
                <c:pt idx="0">
                  <c:v>0.2476276148120778</c:v>
                </c:pt>
                <c:pt idx="1">
                  <c:v>0.24552351549966392</c:v>
                </c:pt>
                <c:pt idx="2">
                  <c:v>0.20030980531556847</c:v>
                </c:pt>
                <c:pt idx="3">
                  <c:v>0.15511244269536975</c:v>
                </c:pt>
                <c:pt idx="4">
                  <c:v>0.06462299784701174</c:v>
                </c:pt>
                <c:pt idx="5">
                  <c:v>0.03372108615657549</c:v>
                </c:pt>
                <c:pt idx="6">
                  <c:v>0.027257128275896728</c:v>
                </c:pt>
                <c:pt idx="7">
                  <c:v>0.02582540939732544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Wave Top Scented Fruit Beige 15l 30ct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nna Zaradna Wave Top Scented Floral Blue 35l 20ct (0.5%)</c:v>
                </c:pt>
                <c:pt idx="1">
                  <c:v>Stella Draw Tape Scented Vanilla Latte 60l 10ct (0.7%)</c:v>
                </c:pt>
                <c:pt idx="2">
                  <c:v>Stella Draw Tape Scented lavender Purple 35l 15ct (0.6%)</c:v>
                </c:pt>
                <c:pt idx="3">
                  <c:v>Jan Niezbedny Magnum Flex Draw Tape Unscented 35l 15ct (3.7%)</c:v>
                </c:pt>
                <c:pt idx="4">
                  <c:v>Stella Wave Top Scented lavender Purple 35l 24ct (1.9%)</c:v>
                </c:pt>
                <c:pt idx="5">
                  <c:v>Jan Niezbedny Wave Top Unscented Blue 35l 36ct (3.3%)</c:v>
                </c:pt>
                <c:pt idx="6">
                  <c:v>Jan Niezbedny Magnum Flex Draw Tape Scented lavender 60l 8ct (0.8%)</c:v>
                </c:pt>
                <c:pt idx="7">
                  <c:v>Stella Wave Top Scented lavender Purple 60l 16ct (1.7%)</c:v>
                </c:pt>
                <c:pt idx="8">
                  <c:v>Jan Niezbedny Magnum Flex Draw Tape Unscented 60l 10ct (2.9%)</c:v>
                </c:pt>
                <c:pt idx="9">
                  <c:v>Stella Wave Top Unscented 35l 30ct (3.6%)</c:v>
                </c:pt>
              </c:strCache>
            </c:strRef>
          </c:cat>
          <c:val>
            <c:numRef>
              <c:f>Sheet1!$B$2:$B$11</c:f>
              <c:numCache>
                <c:formatCode>General</c:formatCode>
                <c:ptCount val="10"/>
                <c:pt idx="0">
                  <c:v>0.0536049188235333</c:v>
                </c:pt>
                <c:pt idx="1">
                  <c:v>0.03945743661619415</c:v>
                </c:pt>
                <c:pt idx="2">
                  <c:v>0.03819182030471377</c:v>
                </c:pt>
                <c:pt idx="3">
                  <c:v>0.03200123079050763</c:v>
                </c:pt>
                <c:pt idx="4">
                  <c:v>0.02968040542033589</c:v>
                </c:pt>
                <c:pt idx="5">
                  <c:v>0.02287259370855494</c:v>
                </c:pt>
                <c:pt idx="6">
                  <c:v>0.020102929527978097</c:v>
                </c:pt>
                <c:pt idx="7">
                  <c:v>0.016518976765715593</c:v>
                </c:pt>
                <c:pt idx="8">
                  <c:v>0.01594859063500988</c:v>
                </c:pt>
                <c:pt idx="9">
                  <c:v>0.01576503225785364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Wave Top Scented Fruit Beige 15l 30ct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nna Zaradna Wave Top Scented Floral Blue 35l 20ct (0.5%)</c:v>
                </c:pt>
                <c:pt idx="1">
                  <c:v>Stella Draw Tape Scented Vanilla Latte 60l 10ct (0.7%)</c:v>
                </c:pt>
                <c:pt idx="2">
                  <c:v>Stella Draw Tape Scented lavender Purple 35l 15ct (0.6%)</c:v>
                </c:pt>
                <c:pt idx="3">
                  <c:v>Jan Niezbedny Magnum Flex Draw Tape Scented lavender 60l 8ct (0.8%)</c:v>
                </c:pt>
                <c:pt idx="4">
                  <c:v>Stella Wave Top Scented lavender Purple 35l 24ct (1.9%)</c:v>
                </c:pt>
                <c:pt idx="5">
                  <c:v>Jan Niezbedny Magnum Flex Draw Tape Unscented 35l 15ct (3.7%)</c:v>
                </c:pt>
                <c:pt idx="6">
                  <c:v>Jan Niezbedny Wave Top Unscented Blue 35l 36ct (3.3%)</c:v>
                </c:pt>
                <c:pt idx="7">
                  <c:v>Stella Wave Top Scented lavender Purple 60l 16ct (1.7%)</c:v>
                </c:pt>
                <c:pt idx="8">
                  <c:v>Anna Zaradna Flat Top Unscented 120l 10ct (0.4%)</c:v>
                </c:pt>
                <c:pt idx="9">
                  <c:v>Jan Niezbedny Magnum Flex Draw Tape Unscented 60l 10ct (2.9%)</c:v>
                </c:pt>
              </c:strCache>
            </c:strRef>
          </c:cat>
          <c:val>
            <c:numRef>
              <c:f>Sheet1!$B$2:$B$11</c:f>
              <c:numCache>
                <c:formatCode>General</c:formatCode>
                <c:ptCount val="10"/>
                <c:pt idx="0">
                  <c:v>0.04190623193220641</c:v>
                </c:pt>
                <c:pt idx="1">
                  <c:v>0.03958330607829215</c:v>
                </c:pt>
                <c:pt idx="2">
                  <c:v>0.02992584913906804</c:v>
                </c:pt>
                <c:pt idx="3">
                  <c:v>0.026095013541716547</c:v>
                </c:pt>
                <c:pt idx="4">
                  <c:v>0.018896280075485092</c:v>
                </c:pt>
                <c:pt idx="5">
                  <c:v>0.017702699421362152</c:v>
                </c:pt>
                <c:pt idx="6">
                  <c:v>0.015045415797892245</c:v>
                </c:pt>
                <c:pt idx="7">
                  <c:v>0.013785150004019649</c:v>
                </c:pt>
                <c:pt idx="8">
                  <c:v>0.013081249632900282</c:v>
                </c:pt>
                <c:pt idx="9">
                  <c:v>0.0116535219814352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Wave Top Unscented 35l 4x10ct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Jan Niezbedny Magnum Flex Draw Tape Unscented 35l 15ct (3.7%)</c:v>
                </c:pt>
                <c:pt idx="2">
                  <c:v>Stella Wave Top Unscented 35l 30ct (3.6%)</c:v>
                </c:pt>
                <c:pt idx="3">
                  <c:v>Jan Niezbedny T-Shirt Scented 35l 30ct (1.4%)</c:v>
                </c:pt>
                <c:pt idx="4">
                  <c:v>Jan Niezbedny Wave Top Unscented Blue 35l 36ct (3.3%)</c:v>
                </c:pt>
                <c:pt idx="5">
                  <c:v>Stella Wave Top Unscented 60l Durable 20ct (2.9%)</c:v>
                </c:pt>
                <c:pt idx="6">
                  <c:v>Jan Niezbedny T-Shirt Scented Purple 60l 20ct (1.6%)</c:v>
                </c:pt>
                <c:pt idx="7">
                  <c:v>Jan Niezbedny Wave Top Unscented Blue 60l 20ct (2.6%)</c:v>
                </c:pt>
                <c:pt idx="8">
                  <c:v>Stella Draw Tape Scented Vanilla Latte 35l 15ct (0.7%)</c:v>
                </c:pt>
                <c:pt idx="9">
                  <c:v>Jan Niezbedny Wave Top Unscented 15l 26ct (0.5%)</c:v>
                </c:pt>
              </c:strCache>
            </c:strRef>
          </c:cat>
          <c:val>
            <c:numRef>
              <c:f>Sheet1!$B$2:$B$11</c:f>
              <c:numCache>
                <c:formatCode>General</c:formatCode>
                <c:ptCount val="10"/>
                <c:pt idx="0">
                  <c:v>0.06948459697541348</c:v>
                </c:pt>
                <c:pt idx="1">
                  <c:v>0.043112479268015175</c:v>
                </c:pt>
                <c:pt idx="2">
                  <c:v>0.040118344173710074</c:v>
                </c:pt>
                <c:pt idx="3">
                  <c:v>0.030745060655135523</c:v>
                </c:pt>
                <c:pt idx="4">
                  <c:v>0.0303992151606949</c:v>
                </c:pt>
                <c:pt idx="5">
                  <c:v>0.027845659570836564</c:v>
                </c:pt>
                <c:pt idx="6">
                  <c:v>0.021298853821678832</c:v>
                </c:pt>
                <c:pt idx="7">
                  <c:v>0.021267292823988645</c:v>
                </c:pt>
                <c:pt idx="8">
                  <c:v>0.020797650120155303</c:v>
                </c:pt>
                <c:pt idx="9">
                  <c:v>0.01745391468980426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Wave Top Unscented 35l 4x10ct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Stella Wave Top Unscented 60l Durable 20ct (2.9%)</c:v>
                </c:pt>
                <c:pt idx="2">
                  <c:v>Jan Niezbedny Wave Top Unscented Blue 60l 20ct (2.6%)</c:v>
                </c:pt>
                <c:pt idx="3">
                  <c:v>Jan Niezbedny T-Shirt Scented Purple 60l 20ct (1.6%)</c:v>
                </c:pt>
                <c:pt idx="4">
                  <c:v>Stella Wave Top Unscented 35l 30ct (3.6%)</c:v>
                </c:pt>
                <c:pt idx="5">
                  <c:v>Stella Wave Top Scented lavender Purple 60l 16ct (1.7%)</c:v>
                </c:pt>
                <c:pt idx="6">
                  <c:v>Jan Niezbedny Magnum Flex Draw Tape Unscented 35l 15ct (3.7%)</c:v>
                </c:pt>
                <c:pt idx="7">
                  <c:v>Jan Niezbedny T-Shirt Scented 35l 30ct (1.4%)</c:v>
                </c:pt>
                <c:pt idx="8">
                  <c:v>Jan Niezbedny Wave Top Unscented Blue 35l 36ct (3.3%)</c:v>
                </c:pt>
                <c:pt idx="9">
                  <c:v>Stella Draw Tape Scented lavender Purple 60l 10ct (1.1%)</c:v>
                </c:pt>
              </c:strCache>
            </c:strRef>
          </c:cat>
          <c:val>
            <c:numRef>
              <c:f>Sheet1!$B$2:$B$11</c:f>
              <c:numCache>
                <c:formatCode>General</c:formatCode>
                <c:ptCount val="10"/>
                <c:pt idx="0">
                  <c:v>0.0490900651751874</c:v>
                </c:pt>
                <c:pt idx="1">
                  <c:v>0.04484274169051575</c:v>
                </c:pt>
                <c:pt idx="2">
                  <c:v>0.03398477904734685</c:v>
                </c:pt>
                <c:pt idx="3">
                  <c:v>0.033713144887690234</c:v>
                </c:pt>
                <c:pt idx="4">
                  <c:v>0.027489898214573455</c:v>
                </c:pt>
                <c:pt idx="5">
                  <c:v>0.02729677742882949</c:v>
                </c:pt>
                <c:pt idx="6">
                  <c:v>0.026391765566578174</c:v>
                </c:pt>
                <c:pt idx="7">
                  <c:v>0.021824621329725645</c:v>
                </c:pt>
                <c:pt idx="8">
                  <c:v>0.020733265071597697</c:v>
                </c:pt>
                <c:pt idx="9">
                  <c:v>0.0196825619774795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Wave Top Unscented 35l 30ct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35l 36ct (3.3%)</c:v>
                </c:pt>
                <c:pt idx="1">
                  <c:v>Jan Niezbedny T-Shirt Scented 35l 30ct (1.4%)</c:v>
                </c:pt>
                <c:pt idx="2">
                  <c:v>Stella Wave Top Scented lavender Purple 35l 24ct (1.9%)</c:v>
                </c:pt>
                <c:pt idx="3">
                  <c:v>Jan Niezbedny Magnum Flex Draw Tape Unscented 35l 15ct (3.7%)</c:v>
                </c:pt>
                <c:pt idx="4">
                  <c:v>Jan Niezbedny T-Shirt Scented Yellow 20l 30ct (0.8%)</c:v>
                </c:pt>
                <c:pt idx="5">
                  <c:v>Anna Zaradna Flat Top Unscented 35l 15ct (0.9%)</c:v>
                </c:pt>
                <c:pt idx="6">
                  <c:v>Anna Zaradna Wave Top Scented Floral Blue 35l 20ct (0.5%)</c:v>
                </c:pt>
                <c:pt idx="7">
                  <c:v>Jan Niezbedny Wave Top Unscented Blue 60l 20ct (2.6%)</c:v>
                </c:pt>
                <c:pt idx="8">
                  <c:v>Stella Wave Top Unscented 60l Durable 20ct (2.9%)</c:v>
                </c:pt>
                <c:pt idx="9">
                  <c:v>Jan Niezbedny Wave Top Unscented 15l 26ct (0.5%)</c:v>
                </c:pt>
              </c:strCache>
            </c:strRef>
          </c:cat>
          <c:val>
            <c:numRef>
              <c:f>Sheet1!$B$2:$B$11</c:f>
              <c:numCache>
                <c:formatCode>General</c:formatCode>
                <c:ptCount val="10"/>
                <c:pt idx="0">
                  <c:v>0.07263179622794262</c:v>
                </c:pt>
                <c:pt idx="1">
                  <c:v>0.037604080271084354</c:v>
                </c:pt>
                <c:pt idx="2">
                  <c:v>0.026885799843321026</c:v>
                </c:pt>
                <c:pt idx="3">
                  <c:v>0.019955053706412543</c:v>
                </c:pt>
                <c:pt idx="4">
                  <c:v>0.018810679493188234</c:v>
                </c:pt>
                <c:pt idx="5">
                  <c:v>0.018031884926364004</c:v>
                </c:pt>
                <c:pt idx="6">
                  <c:v>0.013356827283085815</c:v>
                </c:pt>
                <c:pt idx="7">
                  <c:v>0.008180885276237618</c:v>
                </c:pt>
                <c:pt idx="8">
                  <c:v>0.007929606551324339</c:v>
                </c:pt>
                <c:pt idx="9">
                  <c:v>0.0061635244726750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Wave Top Unscented 35l 30ct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35l 36ct (3.3%)</c:v>
                </c:pt>
                <c:pt idx="1">
                  <c:v>Jan Niezbedny T-Shirt Scented 35l 30ct (1.4%)</c:v>
                </c:pt>
                <c:pt idx="2">
                  <c:v>Jan Niezbedny T-Shirt Scented Yellow 20l 30ct (0.8%)</c:v>
                </c:pt>
                <c:pt idx="3">
                  <c:v>Stella Wave Top Scented lavender Purple 35l 24ct (1.9%)</c:v>
                </c:pt>
                <c:pt idx="4">
                  <c:v>Anna Zaradna Flat Top Unscented 35l 15ct (0.9%)</c:v>
                </c:pt>
                <c:pt idx="5">
                  <c:v>Anna Zaradna Wave Top Scented Floral Blue 35l 20ct (0.5%)</c:v>
                </c:pt>
                <c:pt idx="6">
                  <c:v>Jan Niezbedny Magnum Flex Draw Tape Unscented 35l 15ct (3.7%)</c:v>
                </c:pt>
                <c:pt idx="7">
                  <c:v>Jan Niezbedny Wave Top Unscented Blue 60l 20ct (2.6%)</c:v>
                </c:pt>
                <c:pt idx="8">
                  <c:v>Stella Wave Top Unscented 60l Durable 20ct (2.9%)</c:v>
                </c:pt>
                <c:pt idx="9">
                  <c:v>Stella Wave Top Unscented 35l 4x10ct (1.3%)</c:v>
                </c:pt>
              </c:strCache>
            </c:strRef>
          </c:cat>
          <c:val>
            <c:numRef>
              <c:f>Sheet1!$B$2:$B$11</c:f>
              <c:numCache>
                <c:formatCode>General</c:formatCode>
                <c:ptCount val="10"/>
                <c:pt idx="0">
                  <c:v>0.04904077445104083</c:v>
                </c:pt>
                <c:pt idx="1">
                  <c:v>0.028363581857965534</c:v>
                </c:pt>
                <c:pt idx="2">
                  <c:v>0.01964386133085702</c:v>
                </c:pt>
                <c:pt idx="3">
                  <c:v>0.017073820197616194</c:v>
                </c:pt>
                <c:pt idx="4">
                  <c:v>0.010745870857210842</c:v>
                </c:pt>
                <c:pt idx="5">
                  <c:v>0.010472510516789811</c:v>
                </c:pt>
                <c:pt idx="6">
                  <c:v>0.00861500202526302</c:v>
                </c:pt>
                <c:pt idx="7">
                  <c:v>0.007991802576567092</c:v>
                </c:pt>
                <c:pt idx="8">
                  <c:v>0.007050200854824616</c:v>
                </c:pt>
                <c:pt idx="9">
                  <c:v>0.00583468483886951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Wave Top Scented lavender Purple 35l 24ct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Stella Wave Top Unscented 35l 30ct (3.6%)</c:v>
                </c:pt>
                <c:pt idx="2">
                  <c:v>Jan Niezbedny Wave Top Unscented Blue 35l 36ct (3.3%)</c:v>
                </c:pt>
                <c:pt idx="3">
                  <c:v>Jan Niezbedny Magnum Flex Draw Tape Scented lavender 35l 12ct (0.6%)</c:v>
                </c:pt>
                <c:pt idx="4">
                  <c:v>Jan Niezbedny T-Shirt Scented 35l 30ct (1.4%)</c:v>
                </c:pt>
                <c:pt idx="5">
                  <c:v>Stella Draw Tape Scented lavender Purple 35l 15ct (0.6%)</c:v>
                </c:pt>
                <c:pt idx="6">
                  <c:v>Stella Draw Tape Scented lavender Purple 60l 10ct (1.1%)</c:v>
                </c:pt>
                <c:pt idx="7">
                  <c:v>Stella Wave Top Unscented 35l 4x10ct (1.3%)</c:v>
                </c:pt>
                <c:pt idx="8">
                  <c:v>Jan Niezbedny T-Shirt Scented Purple 60l 20ct (1.6%)</c:v>
                </c:pt>
                <c:pt idx="9">
                  <c:v>Anna Zaradna Flat Top Unscented 35l 15ct (0.9%)</c:v>
                </c:pt>
              </c:strCache>
            </c:strRef>
          </c:cat>
          <c:val>
            <c:numRef>
              <c:f>Sheet1!$B$2:$B$11</c:f>
              <c:numCache>
                <c:formatCode>General</c:formatCode>
                <c:ptCount val="10"/>
                <c:pt idx="0">
                  <c:v>0.055687642706953366</c:v>
                </c:pt>
                <c:pt idx="1">
                  <c:v>0.05126094254157124</c:v>
                </c:pt>
                <c:pt idx="2">
                  <c:v>0.03708426430553582</c:v>
                </c:pt>
                <c:pt idx="3">
                  <c:v>0.03013940395295742</c:v>
                </c:pt>
                <c:pt idx="4">
                  <c:v>0.02835399538308565</c:v>
                </c:pt>
                <c:pt idx="5">
                  <c:v>0.025837430627633752</c:v>
                </c:pt>
                <c:pt idx="6">
                  <c:v>0.02525326512896034</c:v>
                </c:pt>
                <c:pt idx="7">
                  <c:v>0.023603488230791544</c:v>
                </c:pt>
                <c:pt idx="8">
                  <c:v>0.02001352266123954</c:v>
                </c:pt>
                <c:pt idx="9">
                  <c:v>0.0177161262923742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Wave Top Scented lavender Purple 35l 24ct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Stella Wave Top Unscented 35l 30ct (3.6%)</c:v>
                </c:pt>
                <c:pt idx="2">
                  <c:v>Jan Niezbedny T-Shirt Scented 35l 30ct (1.4%)</c:v>
                </c:pt>
                <c:pt idx="3">
                  <c:v>Jan Niezbedny Wave Top Unscented Blue 35l 36ct (3.3%)</c:v>
                </c:pt>
                <c:pt idx="4">
                  <c:v>Jan Niezbedny T-Shirt Scented Purple 60l 20ct (1.6%)</c:v>
                </c:pt>
                <c:pt idx="5">
                  <c:v>Jan Niezbedny Magnum Flex Draw Tape Scented lavender 35l 12ct (0.6%)</c:v>
                </c:pt>
                <c:pt idx="6">
                  <c:v>Stella Wave Top Unscented 35l 4x10ct (1.3%)</c:v>
                </c:pt>
                <c:pt idx="7">
                  <c:v>Stella Draw Tape Scented lavender Purple 35l 15ct (0.6%)</c:v>
                </c:pt>
                <c:pt idx="8">
                  <c:v>Stella Draw Tape Scented lavender Purple 60l 10ct (1.1%)</c:v>
                </c:pt>
                <c:pt idx="9">
                  <c:v>Jan Niezbedny Wave Top Unscented 15l 26ct (0.5%)</c:v>
                </c:pt>
              </c:strCache>
            </c:strRef>
          </c:cat>
          <c:val>
            <c:numRef>
              <c:f>Sheet1!$B$2:$B$11</c:f>
              <c:numCache>
                <c:formatCode>General</c:formatCode>
                <c:ptCount val="10"/>
                <c:pt idx="0">
                  <c:v>0.057510805667785776</c:v>
                </c:pt>
                <c:pt idx="1">
                  <c:v>0.05242362128810772</c:v>
                </c:pt>
                <c:pt idx="2">
                  <c:v>0.0362072675687391</c:v>
                </c:pt>
                <c:pt idx="3">
                  <c:v>0.03042324962836373</c:v>
                </c:pt>
                <c:pt idx="4">
                  <c:v>0.026571707230485925</c:v>
                </c:pt>
                <c:pt idx="5">
                  <c:v>0.026483365630225283</c:v>
                </c:pt>
                <c:pt idx="6">
                  <c:v>0.02357987891835915</c:v>
                </c:pt>
                <c:pt idx="7">
                  <c:v>0.01894921585988134</c:v>
                </c:pt>
                <c:pt idx="8">
                  <c:v>0.01751136529718369</c:v>
                </c:pt>
                <c:pt idx="9">
                  <c:v>0.0149537606931400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Wave Top Unscented 60l Plastic 14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T-Shirt Scented Purple 60l 20ct (1.6%)</c:v>
                </c:pt>
                <c:pt idx="2">
                  <c:v>Stella Wave Top Scented lavender Purple 35l 24ct (1.9%)</c:v>
                </c:pt>
                <c:pt idx="3">
                  <c:v>Anna Zaradna Flat Top Unscented 60l 10ct (0.7%)</c:v>
                </c:pt>
                <c:pt idx="4">
                  <c:v>Stella Wave Top Unscented 35l 4x10ct (1.3%)</c:v>
                </c:pt>
                <c:pt idx="5">
                  <c:v>Jan Niezbedny Magnum Flex Draw Tape Unscented 35l 15ct (3.7%)</c:v>
                </c:pt>
                <c:pt idx="6">
                  <c:v>Jan Niezbedny Wave Top Unscented Blue 35l 36ct (3.3%)</c:v>
                </c:pt>
                <c:pt idx="7">
                  <c:v>Stella Wave Top Scented Vanilla latte Beige 60l 16ct (0.8%)</c:v>
                </c:pt>
                <c:pt idx="8">
                  <c:v>Stella Draw Tape Scented Vanilla Latte 60l 10ct (0.7%)</c:v>
                </c:pt>
                <c:pt idx="9">
                  <c:v>Jan Niezbedny T-Shirt Scented 35l 30ct (1.4%)</c:v>
                </c:pt>
              </c:strCache>
            </c:strRef>
          </c:cat>
          <c:val>
            <c:numRef>
              <c:f>Sheet1!$B$2:$B$11</c:f>
              <c:numCache>
                <c:formatCode>General</c:formatCode>
                <c:ptCount val="10"/>
                <c:pt idx="0">
                  <c:v>0.055427177792478494</c:v>
                </c:pt>
                <c:pt idx="1">
                  <c:v>0.04928542433519899</c:v>
                </c:pt>
                <c:pt idx="2">
                  <c:v>0.04806644564271932</c:v>
                </c:pt>
                <c:pt idx="3">
                  <c:v>0.03266844911348818</c:v>
                </c:pt>
                <c:pt idx="4">
                  <c:v>0.023570614012353004</c:v>
                </c:pt>
                <c:pt idx="5">
                  <c:v>0.020272552597960198</c:v>
                </c:pt>
                <c:pt idx="6">
                  <c:v>0.020056208801451106</c:v>
                </c:pt>
                <c:pt idx="7">
                  <c:v>0.019342420602176492</c:v>
                </c:pt>
                <c:pt idx="8">
                  <c:v>0.018606520442565572</c:v>
                </c:pt>
                <c:pt idx="9">
                  <c:v>0.0173793046360640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Wave Top Unscented 60l Plastic 14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T-Shirt Scented Purple 60l 20ct (1.6%)</c:v>
                </c:pt>
                <c:pt idx="1">
                  <c:v>Stella Wave Top Unscented 60l Durable 20ct (2.9%)</c:v>
                </c:pt>
                <c:pt idx="2">
                  <c:v>Anna Zaradna Flat Top Unscented 60l 10ct (0.7%)</c:v>
                </c:pt>
                <c:pt idx="3">
                  <c:v>Stella Wave Top Scented lavender Purple 35l 24ct (1.9%)</c:v>
                </c:pt>
                <c:pt idx="4">
                  <c:v>Stella Wave Top Unscented 35l 4x10ct (1.3%)</c:v>
                </c:pt>
                <c:pt idx="5">
                  <c:v>Stella Wave Top Scented Vanilla latte Beige 60l 16ct (0.8%)</c:v>
                </c:pt>
                <c:pt idx="6">
                  <c:v>Anna Zaradna Wave Top Scented Floral Blue 60l 10ct (0.3%)</c:v>
                </c:pt>
                <c:pt idx="7">
                  <c:v>Stella Draw Tape Scented Vanilla Latte 60l 10ct (0.7%)</c:v>
                </c:pt>
                <c:pt idx="8">
                  <c:v>Jan Niezbedny Magnum Flex Draw Tape Unscented 60l 10ct (2.9%)</c:v>
                </c:pt>
                <c:pt idx="9">
                  <c:v>Jan Niezbedny Wave Top Unscented Blue 35l 36ct (3.3%)</c:v>
                </c:pt>
              </c:strCache>
            </c:strRef>
          </c:cat>
          <c:val>
            <c:numRef>
              <c:f>Sheet1!$B$2:$B$11</c:f>
              <c:numCache>
                <c:formatCode>General</c:formatCode>
                <c:ptCount val="10"/>
                <c:pt idx="0">
                  <c:v>0.07713634329628787</c:v>
                </c:pt>
                <c:pt idx="1">
                  <c:v>0.07202179339862766</c:v>
                </c:pt>
                <c:pt idx="2">
                  <c:v>0.04291720198457731</c:v>
                </c:pt>
                <c:pt idx="3">
                  <c:v>0.03232237492616805</c:v>
                </c:pt>
                <c:pt idx="4">
                  <c:v>0.02321480887324057</c:v>
                </c:pt>
                <c:pt idx="5">
                  <c:v>0.023157134386519604</c:v>
                </c:pt>
                <c:pt idx="6">
                  <c:v>0.021807896364004476</c:v>
                </c:pt>
                <c:pt idx="7">
                  <c:v>0.020820883561168065</c:v>
                </c:pt>
                <c:pt idx="8">
                  <c:v>0.01757302277751493</c:v>
                </c:pt>
                <c:pt idx="9">
                  <c:v>0.0169326456560825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rosik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Carrefour (16.6%)</c:v>
                </c:pt>
                <c:pt idx="2">
                  <c:v>Jan Niezbedny (20.2%)</c:v>
                </c:pt>
                <c:pt idx="3">
                  <c:v>Stella (16.1%)</c:v>
                </c:pt>
                <c:pt idx="4">
                  <c:v>Anna Zaradna (3.2%)</c:v>
                </c:pt>
                <c:pt idx="5">
                  <c:v>Paclan (2.9%)</c:v>
                </c:pt>
                <c:pt idx="6">
                  <c:v>Ravi (1.1%)</c:v>
                </c:pt>
                <c:pt idx="7">
                  <c:v>Vi Go! (2.2%)</c:v>
                </c:pt>
              </c:strCache>
            </c:strRef>
          </c:cat>
          <c:val>
            <c:numRef>
              <c:f>Sheet1!$B$2:$B$9</c:f>
              <c:numCache>
                <c:formatCode>General</c:formatCode>
                <c:ptCount val="8"/>
                <c:pt idx="0">
                  <c:v>0.2889926063596416</c:v>
                </c:pt>
                <c:pt idx="1">
                  <c:v>0.2801084138738507</c:v>
                </c:pt>
                <c:pt idx="2">
                  <c:v>0.15471313321160587</c:v>
                </c:pt>
                <c:pt idx="3">
                  <c:v>0.12896493046568272</c:v>
                </c:pt>
                <c:pt idx="4">
                  <c:v>0.05622976599736275</c:v>
                </c:pt>
                <c:pt idx="5">
                  <c:v>0.038130985116880685</c:v>
                </c:pt>
                <c:pt idx="6">
                  <c:v>0.03359596747967268</c:v>
                </c:pt>
                <c:pt idx="7">
                  <c:v>0.019264197495400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Wave Top Unscented 60l Durable 20ct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Jan Niezbedny T-Shirt Scented Purple 60l 20ct (1.6%)</c:v>
                </c:pt>
                <c:pt idx="2">
                  <c:v>Stella Wave Top Unscented 35l 30ct (3.6%)</c:v>
                </c:pt>
                <c:pt idx="3">
                  <c:v>Stella Wave Top Unscented 35l 4x10ct (1.3%)</c:v>
                </c:pt>
                <c:pt idx="4">
                  <c:v>Jan Niezbedny Magnum Flex Draw Tape Unscented 35l 15ct (3.7%)</c:v>
                </c:pt>
                <c:pt idx="5">
                  <c:v>Stella Wave Top Scented lavender Purple 35l 24ct (1.9%)</c:v>
                </c:pt>
                <c:pt idx="6">
                  <c:v>Jan Niezbedny Magnum Flex Draw Tape Unscented 60l 10ct (2.9%)</c:v>
                </c:pt>
                <c:pt idx="7">
                  <c:v>Stella Wave Top Scented lavender Purple 60l 16ct (1.7%)</c:v>
                </c:pt>
                <c:pt idx="8">
                  <c:v>Jan Niezbedny Wave Top Unscented Blue 35l 36ct (3.3%)</c:v>
                </c:pt>
                <c:pt idx="9">
                  <c:v>Anna Zaradna Flat Top Unscented 60l 10ct (0.7%)</c:v>
                </c:pt>
              </c:strCache>
            </c:strRef>
          </c:cat>
          <c:val>
            <c:numRef>
              <c:f>Sheet1!$B$2:$B$11</c:f>
              <c:numCache>
                <c:formatCode>General</c:formatCode>
                <c:ptCount val="10"/>
                <c:pt idx="0">
                  <c:v>0.049093330205197835</c:v>
                </c:pt>
                <c:pt idx="1">
                  <c:v>0.043105545141030585</c:v>
                </c:pt>
                <c:pt idx="2">
                  <c:v>0.023167178486025303</c:v>
                </c:pt>
                <c:pt idx="3">
                  <c:v>0.022739866521816834</c:v>
                </c:pt>
                <c:pt idx="4">
                  <c:v>0.02233240043117208</c:v>
                </c:pt>
                <c:pt idx="5">
                  <c:v>0.021205274746978153</c:v>
                </c:pt>
                <c:pt idx="6">
                  <c:v>0.020734081989570614</c:v>
                </c:pt>
                <c:pt idx="7">
                  <c:v>0.017274369249767337</c:v>
                </c:pt>
                <c:pt idx="8">
                  <c:v>0.016659844715430465</c:v>
                </c:pt>
                <c:pt idx="9">
                  <c:v>0.01615800793520352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Wave Top Unscented 60l Durable 20ct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Jan Niezbedny Magnum Flex Draw Tape Unscented 60l 10ct (2.9%)</c:v>
                </c:pt>
                <c:pt idx="2">
                  <c:v>Jan Niezbedny T-Shirt Scented Purple 60l 20ct (1.6%)</c:v>
                </c:pt>
                <c:pt idx="3">
                  <c:v>Stella Wave Top Scented lavender Purple 60l 16ct (1.7%)</c:v>
                </c:pt>
                <c:pt idx="4">
                  <c:v>Anna Zaradna Flat Top Unscented 60l 10ct (0.7%)</c:v>
                </c:pt>
                <c:pt idx="5">
                  <c:v>Jan Niezbedny Magnum Flex Draw Tape Unscented 35l 15ct (3.7%)</c:v>
                </c:pt>
                <c:pt idx="6">
                  <c:v>Jan Niezbedny Wave Top Unscented Blue 35l 36ct (3.3%)</c:v>
                </c:pt>
                <c:pt idx="7">
                  <c:v>Stella Wave Top Unscented 35l 4x10ct (1.3%)</c:v>
                </c:pt>
                <c:pt idx="8">
                  <c:v>Jan Niezbedny Magnum Flex Draw Tape Scented lavender 60l 8ct (0.8%)</c:v>
                </c:pt>
                <c:pt idx="9">
                  <c:v>Stella Wave Top Unscented 35l 30ct (3.6%)</c:v>
                </c:pt>
              </c:strCache>
            </c:strRef>
          </c:cat>
          <c:val>
            <c:numRef>
              <c:f>Sheet1!$B$2:$B$11</c:f>
              <c:numCache>
                <c:formatCode>General</c:formatCode>
                <c:ptCount val="10"/>
                <c:pt idx="0">
                  <c:v>0.06992179041446066</c:v>
                </c:pt>
                <c:pt idx="1">
                  <c:v>0.060204802602112355</c:v>
                </c:pt>
                <c:pt idx="2">
                  <c:v>0.04275675548336512</c:v>
                </c:pt>
                <c:pt idx="3">
                  <c:v>0.03430639310088059</c:v>
                </c:pt>
                <c:pt idx="4">
                  <c:v>0.024395939853182315</c:v>
                </c:pt>
                <c:pt idx="5">
                  <c:v>0.02222594257268783</c:v>
                </c:pt>
                <c:pt idx="6">
                  <c:v>0.01809866533592232</c:v>
                </c:pt>
                <c:pt idx="7">
                  <c:v>0.016388261006454487</c:v>
                </c:pt>
                <c:pt idx="8">
                  <c:v>0.01615471564940446</c:v>
                </c:pt>
                <c:pt idx="9">
                  <c:v>0.01528568440527894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Wave Top Scented Vanilla latte Beige 60l 16ct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Stella Wave Top Unscented 60l Durable 20ct (2.9%)</c:v>
                </c:pt>
                <c:pt idx="2">
                  <c:v>Stella Wave Top Unscented 35l 30ct (3.6%)</c:v>
                </c:pt>
                <c:pt idx="3">
                  <c:v>Stella Wave Top Scented lavender Purple 60l 16ct (1.7%)</c:v>
                </c:pt>
                <c:pt idx="4">
                  <c:v>Jan Niezbedny Wave Top Unscented Blue 35l 36ct (3.3%)</c:v>
                </c:pt>
                <c:pt idx="5">
                  <c:v>Jan Niezbedny T-Shirt Scented Purple 60l 20ct (1.6%)</c:v>
                </c:pt>
                <c:pt idx="6">
                  <c:v>Stella Draw Tape Scented lavender Purple 60l 10ct (1.1%)</c:v>
                </c:pt>
                <c:pt idx="7">
                  <c:v>Jan Niezbedny Magnum Flex Draw Tape Unscented 60l 10ct (2.9%)</c:v>
                </c:pt>
                <c:pt idx="8">
                  <c:v>Stella Wave Top Scented lavender Purple 35l 24ct (1.9%)</c:v>
                </c:pt>
                <c:pt idx="9">
                  <c:v>Anna Zaradna Flat Top Unscented 60l 10ct (0.7%)</c:v>
                </c:pt>
              </c:strCache>
            </c:strRef>
          </c:cat>
          <c:val>
            <c:numRef>
              <c:f>Sheet1!$B$2:$B$11</c:f>
              <c:numCache>
                <c:formatCode>General</c:formatCode>
                <c:ptCount val="10"/>
                <c:pt idx="0">
                  <c:v>0.057596805462109345</c:v>
                </c:pt>
                <c:pt idx="1">
                  <c:v>0.03435524478064959</c:v>
                </c:pt>
                <c:pt idx="2">
                  <c:v>0.02485379178254249</c:v>
                </c:pt>
                <c:pt idx="3">
                  <c:v>0.023833993520512447</c:v>
                </c:pt>
                <c:pt idx="4">
                  <c:v>0.023217761399559146</c:v>
                </c:pt>
                <c:pt idx="5">
                  <c:v>0.022363419723870626</c:v>
                </c:pt>
                <c:pt idx="6">
                  <c:v>0.018375002287443747</c:v>
                </c:pt>
                <c:pt idx="7">
                  <c:v>0.016178618751847583</c:v>
                </c:pt>
                <c:pt idx="8">
                  <c:v>0.012444132299195325</c:v>
                </c:pt>
                <c:pt idx="9">
                  <c:v>0.009913611849823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Wave Top Scented Vanilla latte Beige 60l 16ct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Draw Tape Scented lavender Purple 60l 10ct (1.1%)</c:v>
                </c:pt>
                <c:pt idx="1">
                  <c:v>Stella Wave Top Scented lavender Purple 60l 16ct (1.7%)</c:v>
                </c:pt>
                <c:pt idx="2">
                  <c:v>Stella Wave Top Unscented 60l Durable 20ct (2.9%)</c:v>
                </c:pt>
                <c:pt idx="3">
                  <c:v>Jan Niezbedny Wave Top Unscented Blue 60l 20ct (2.6%)</c:v>
                </c:pt>
                <c:pt idx="4">
                  <c:v>Jan Niezbedny Wave Top Unscented Blue 35l 36ct (3.3%)</c:v>
                </c:pt>
                <c:pt idx="5">
                  <c:v>Stella Wave Top Unscented 35l 30ct (3.6%)</c:v>
                </c:pt>
                <c:pt idx="6">
                  <c:v>Jan Niezbedny T-Shirt Scented Purple 60l 20ct (1.6%)</c:v>
                </c:pt>
                <c:pt idx="7">
                  <c:v>Stella Wave Top Scented lavender Purple 35l 24ct (1.9%)</c:v>
                </c:pt>
                <c:pt idx="8">
                  <c:v>Jan Niezbedny Magnum Flex Draw Tape Unscented 60l 10ct (2.9%)</c:v>
                </c:pt>
                <c:pt idx="9">
                  <c:v>Stella Draw Tape Scented Vanilla Latte 60l 10ct (0.7%)</c:v>
                </c:pt>
              </c:strCache>
            </c:strRef>
          </c:cat>
          <c:val>
            <c:numRef>
              <c:f>Sheet1!$B$2:$B$11</c:f>
              <c:numCache>
                <c:formatCode>General</c:formatCode>
                <c:ptCount val="10"/>
                <c:pt idx="0">
                  <c:v>0.039380561842566705</c:v>
                </c:pt>
                <c:pt idx="1">
                  <c:v>0.038037487608134815</c:v>
                </c:pt>
                <c:pt idx="2">
                  <c:v>0.033885540021507066</c:v>
                </c:pt>
                <c:pt idx="3">
                  <c:v>0.03008494821697562</c:v>
                </c:pt>
                <c:pt idx="4">
                  <c:v>0.027196386617668367</c:v>
                </c:pt>
                <c:pt idx="5">
                  <c:v>0.023668284118515907</c:v>
                </c:pt>
                <c:pt idx="6">
                  <c:v>0.02265378171231062</c:v>
                </c:pt>
                <c:pt idx="7">
                  <c:v>0.022574192380733007</c:v>
                </c:pt>
                <c:pt idx="8">
                  <c:v>0.0215523127385947</c:v>
                </c:pt>
                <c:pt idx="9">
                  <c:v>0.01801088761410940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Wave Top Scented lavender Purple 60l 16ct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Draw Tape Scented lavender Purple 60l 10ct (1.1%)</c:v>
                </c:pt>
                <c:pt idx="1">
                  <c:v>Jan Niezbedny T-Shirt Scented Purple 60l 20ct (1.6%)</c:v>
                </c:pt>
                <c:pt idx="2">
                  <c:v>Stella Wave Top Unscented 60l Durable 20ct (2.9%)</c:v>
                </c:pt>
                <c:pt idx="3">
                  <c:v>Jan Niezbedny Wave Top Unscented Blue 60l 20ct (2.6%)</c:v>
                </c:pt>
                <c:pt idx="4">
                  <c:v>Jan Niezbedny Magnum Flex Draw Tape Scented lavender 60l 8ct (0.8%)</c:v>
                </c:pt>
                <c:pt idx="5">
                  <c:v>Jan Niezbedny Magnum Flex Draw Tape Unscented 60l 10ct (2.9%)</c:v>
                </c:pt>
                <c:pt idx="6">
                  <c:v>Stella Wave Top Scented lavender Purple 35l 24ct (1.9%)</c:v>
                </c:pt>
                <c:pt idx="7">
                  <c:v>Jan Niezbedny Wave Top Unscented Blue 35l 36ct (3.3%)</c:v>
                </c:pt>
                <c:pt idx="8">
                  <c:v>Stella Wave Top Unscented 35l 4x10ct (1.3%)</c:v>
                </c:pt>
                <c:pt idx="9">
                  <c:v>Stella Wave Top Scented Vanilla latte Beige 60l 16ct (0.8%)</c:v>
                </c:pt>
              </c:strCache>
            </c:strRef>
          </c:cat>
          <c:val>
            <c:numRef>
              <c:f>Sheet1!$B$2:$B$11</c:f>
              <c:numCache>
                <c:formatCode>General</c:formatCode>
                <c:ptCount val="10"/>
                <c:pt idx="0">
                  <c:v>0.05593393878241272</c:v>
                </c:pt>
                <c:pt idx="1">
                  <c:v>0.047042744248563986</c:v>
                </c:pt>
                <c:pt idx="2">
                  <c:v>0.04299029794254068</c:v>
                </c:pt>
                <c:pt idx="3">
                  <c:v>0.03838908151434292</c:v>
                </c:pt>
                <c:pt idx="4">
                  <c:v>0.03552349137010921</c:v>
                </c:pt>
                <c:pt idx="5">
                  <c:v>0.03126221808784015</c:v>
                </c:pt>
                <c:pt idx="6">
                  <c:v>0.025686697746982626</c:v>
                </c:pt>
                <c:pt idx="7">
                  <c:v>0.022712151086201216</c:v>
                </c:pt>
                <c:pt idx="8">
                  <c:v>0.021391133046264603</c:v>
                </c:pt>
                <c:pt idx="9">
                  <c:v>0.020944579310827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Wave Top Scented lavender Purple 60l 16ct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T-Shirt Scented Purple 60l 20ct (1.6%)</c:v>
                </c:pt>
                <c:pt idx="1">
                  <c:v>Jan Niezbedny Wave Top Unscented Blue 60l 20ct (2.6%)</c:v>
                </c:pt>
                <c:pt idx="2">
                  <c:v>Stella Wave Top Unscented 60l Durable 20ct (2.9%)</c:v>
                </c:pt>
                <c:pt idx="3">
                  <c:v>Stella Draw Tape Scented lavender Purple 60l 10ct (1.1%)</c:v>
                </c:pt>
                <c:pt idx="4">
                  <c:v>Jan Niezbedny Magnum Flex Draw Tape Unscented 60l 10ct (2.9%)</c:v>
                </c:pt>
                <c:pt idx="5">
                  <c:v>Jan Niezbedny Magnum Flex Draw Tape Scented lavender 60l 8ct (0.8%)</c:v>
                </c:pt>
                <c:pt idx="6">
                  <c:v>Stella Wave Top Scented lavender Purple 35l 24ct (1.9%)</c:v>
                </c:pt>
                <c:pt idx="7">
                  <c:v>Jan Niezbedny Wave Top Unscented Blue 35l 36ct (3.3%)</c:v>
                </c:pt>
                <c:pt idx="8">
                  <c:v>Stella Wave Top Scented Vanilla latte Beige 60l 16ct (0.8%)</c:v>
                </c:pt>
                <c:pt idx="9">
                  <c:v>Jan Niezbedny Magnum Flex Draw Tape Unscented 35l 15ct (3.7%)</c:v>
                </c:pt>
              </c:strCache>
            </c:strRef>
          </c:cat>
          <c:val>
            <c:numRef>
              <c:f>Sheet1!$B$2:$B$11</c:f>
              <c:numCache>
                <c:formatCode>General</c:formatCode>
                <c:ptCount val="10"/>
                <c:pt idx="0">
                  <c:v>0.046125265476362566</c:v>
                </c:pt>
                <c:pt idx="1">
                  <c:v>0.042330773918184045</c:v>
                </c:pt>
                <c:pt idx="2">
                  <c:v>0.04166680823763739</c:v>
                </c:pt>
                <c:pt idx="3">
                  <c:v>0.04039443511966197</c:v>
                </c:pt>
                <c:pt idx="4">
                  <c:v>0.031120028746145566</c:v>
                </c:pt>
                <c:pt idx="5">
                  <c:v>0.027109132942662987</c:v>
                </c:pt>
                <c:pt idx="6">
                  <c:v>0.02419990352253481</c:v>
                </c:pt>
                <c:pt idx="7">
                  <c:v>0.021498456899395356</c:v>
                </c:pt>
                <c:pt idx="8">
                  <c:v>0.020119184198943586</c:v>
                </c:pt>
                <c:pt idx="9">
                  <c:v>0.019577625852006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none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nna Zaradna Flat Top Unscented 35l 15ct (0.9%)</c:v>
                </c:pt>
                <c:pt idx="1">
                  <c:v>Anna Zaradna Flat Top Unscented 60l 10ct (0.7%)</c:v>
                </c:pt>
                <c:pt idx="2">
                  <c:v>Anna Zaradna Flat Top Unscented 120l 10ct (0.4%)</c:v>
                </c:pt>
                <c:pt idx="3">
                  <c:v>Anna Zaradna Flat Top Unscented 240l 10ct (0.3%)</c:v>
                </c:pt>
                <c:pt idx="4">
                  <c:v>Anna Zaradna Wave Top Scented Floral Blue 20l 30ct (0.1%)</c:v>
                </c:pt>
                <c:pt idx="5">
                  <c:v>Anna Zaradna Wave Top Scented Floral Blue 35l 20ct (0.5%)</c:v>
                </c:pt>
                <c:pt idx="6">
                  <c:v>Anna Zaradna Wave Top Scented Floral Blue 60l 10ct (0.3%)</c:v>
                </c:pt>
                <c:pt idx="7">
                  <c:v>Jan Niezbędny Magnum Flex Odor Lock 35l 15ct (0.0%)</c:v>
                </c:pt>
                <c:pt idx="8">
                  <c:v>Jan Niezbedny Magnum Flex Draw Tape Scented lavender 35l 12ct (0.6%)</c:v>
                </c:pt>
                <c:pt idx="9">
                  <c:v>Jan Niezbedny Magnum Flex Draw Tape Unscented 35l 15ct (3.7%)</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none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nna Zaradna Flat Top Unscented 35l 15ct (0.9%)</c:v>
                </c:pt>
                <c:pt idx="1">
                  <c:v>Anna Zaradna Flat Top Unscented 60l 10ct (0.7%)</c:v>
                </c:pt>
                <c:pt idx="2">
                  <c:v>Anna Zaradna Flat Top Unscented 120l 10ct (0.4%)</c:v>
                </c:pt>
                <c:pt idx="3">
                  <c:v>Anna Zaradna Flat Top Unscented 240l 10ct (0.3%)</c:v>
                </c:pt>
                <c:pt idx="4">
                  <c:v>Anna Zaradna Wave Top Scented Floral Blue 20l 30ct (0.1%)</c:v>
                </c:pt>
                <c:pt idx="5">
                  <c:v>Anna Zaradna Wave Top Scented Floral Blue 35l 20ct (0.5%)</c:v>
                </c:pt>
                <c:pt idx="6">
                  <c:v>Anna Zaradna Wave Top Scented Floral Blue 60l 10ct (0.3%)</c:v>
                </c:pt>
                <c:pt idx="7">
                  <c:v>Jan Niezbędny Magnum Flex Odor Lock 35l 15ct (0.0%)</c:v>
                </c:pt>
                <c:pt idx="8">
                  <c:v>Jan Niezbedny Magnum Flex Draw Tape Scented lavender 35l 12ct (0.6%)</c:v>
                </c:pt>
                <c:pt idx="9">
                  <c:v>Jan Niezbedny Magnum Flex Draw Tape Unscented 35l 15ct (3.7%)</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ANNA ZARADNA FLAT TOP UNSCENTED 35L 15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5.09</c:v>
                </c:pt>
                <c:pt idx="1">
                  <c:v>5.39</c:v>
                </c:pt>
                <c:pt idx="2">
                  <c:v>5.99</c:v>
                </c:pt>
                <c:pt idx="3">
                  <c:v>6.59</c:v>
                </c:pt>
                <c:pt idx="4">
                  <c:v>7.19</c:v>
                </c:pt>
              </c:numCache>
            </c:numRef>
          </c:xVal>
          <c:yVal>
            <c:numRef>
              <c:f>Sheet1!$B$2:$B$6</c:f>
              <c:numCache>
                <c:formatCode>General</c:formatCode>
                <c:ptCount val="5"/>
                <c:pt idx="0">
                  <c:v>0.24583642488638527</c:v>
                </c:pt>
                <c:pt idx="1">
                  <c:v>0.14169926648930714</c:v>
                </c:pt>
                <c:pt idx="2">
                  <c:v>0.0</c:v>
                </c:pt>
                <c:pt idx="3">
                  <c:v>-0.21563835762655537</c:v>
                </c:pt>
                <c:pt idx="4">
                  <c:v>-0.3308605519768142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ANNA ZARADNA FLAT TOP UNSCENTED 60L 1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09</c:v>
                </c:pt>
                <c:pt idx="1">
                  <c:v>5.39</c:v>
                </c:pt>
                <c:pt idx="2">
                  <c:v>5.99</c:v>
                </c:pt>
                <c:pt idx="3">
                  <c:v>6.59</c:v>
                </c:pt>
                <c:pt idx="4">
                  <c:v>7.19</c:v>
                </c:pt>
              </c:numCache>
            </c:numRef>
          </c:xVal>
          <c:yVal>
            <c:numRef>
              <c:f>Sheet1!$B$9:$B$13</c:f>
              <c:numCache>
                <c:formatCode>General</c:formatCode>
                <c:ptCount val="5"/>
                <c:pt idx="0">
                  <c:v>0.18600848952363447</c:v>
                </c:pt>
                <c:pt idx="1">
                  <c:v>0.1086858448165458</c:v>
                </c:pt>
                <c:pt idx="2">
                  <c:v>0.0</c:v>
                </c:pt>
                <c:pt idx="3">
                  <c:v>-0.10450955217956921</c:v>
                </c:pt>
                <c:pt idx="4">
                  <c:v>-0.2749232619472411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ANNA ZARADNA FLAT TOP UNSCENTED 120L 10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89</c:v>
                </c:pt>
                <c:pt idx="1">
                  <c:v>6.29</c:v>
                </c:pt>
                <c:pt idx="2">
                  <c:v>6.99</c:v>
                </c:pt>
                <c:pt idx="3">
                  <c:v>7.69</c:v>
                </c:pt>
                <c:pt idx="4">
                  <c:v>8.39</c:v>
                </c:pt>
              </c:numCache>
            </c:numRef>
          </c:xVal>
          <c:yVal>
            <c:numRef>
              <c:f>Sheet1!$B$16:$B$20</c:f>
              <c:numCache>
                <c:formatCode>General</c:formatCode>
                <c:ptCount val="5"/>
                <c:pt idx="0">
                  <c:v>0.2715973774307895</c:v>
                </c:pt>
                <c:pt idx="1">
                  <c:v>0.14727974848414982</c:v>
                </c:pt>
                <c:pt idx="2">
                  <c:v>0.0</c:v>
                </c:pt>
                <c:pt idx="3">
                  <c:v>-0.12018785503768094</c:v>
                </c:pt>
                <c:pt idx="4">
                  <c:v>-0.2101495462565811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ANNA ZARADNA FLAT TOP UNSCENTED 240L 10CT</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4.19</c:v>
                </c:pt>
                <c:pt idx="1">
                  <c:v>14.99</c:v>
                </c:pt>
                <c:pt idx="2">
                  <c:v>16.69</c:v>
                </c:pt>
                <c:pt idx="3">
                  <c:v>18.39</c:v>
                </c:pt>
                <c:pt idx="4">
                  <c:v>19.99</c:v>
                </c:pt>
              </c:numCache>
            </c:numRef>
          </c:xVal>
          <c:yVal>
            <c:numRef>
              <c:f>Sheet1!$B$23:$B$27</c:f>
              <c:numCache>
                <c:formatCode>General</c:formatCode>
                <c:ptCount val="5"/>
                <c:pt idx="0">
                  <c:v>0.2831529776471021</c:v>
                </c:pt>
                <c:pt idx="1">
                  <c:v>0.15665419033533065</c:v>
                </c:pt>
                <c:pt idx="2">
                  <c:v>0.0</c:v>
                </c:pt>
                <c:pt idx="3">
                  <c:v>-0.07315116999149535</c:v>
                </c:pt>
                <c:pt idx="4">
                  <c:v>-0.1245211244285493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9.99"/>
          <c:min val="5.0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ANNA ZARADNA WAVE TOP SCENTED FLORAL BLUE 20L 30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5.09</c:v>
                </c:pt>
                <c:pt idx="1">
                  <c:v>5.39</c:v>
                </c:pt>
                <c:pt idx="2">
                  <c:v>5.99</c:v>
                </c:pt>
                <c:pt idx="3">
                  <c:v>6.59</c:v>
                </c:pt>
                <c:pt idx="4">
                  <c:v>7.19</c:v>
                </c:pt>
              </c:numCache>
            </c:numRef>
          </c:xVal>
          <c:yVal>
            <c:numRef>
              <c:f>Sheet1!$B$2:$B$6</c:f>
              <c:numCache>
                <c:formatCode>General</c:formatCode>
                <c:ptCount val="5"/>
                <c:pt idx="0">
                  <c:v>0.36120925398066506</c:v>
                </c:pt>
                <c:pt idx="1">
                  <c:v>0.19520787689953334</c:v>
                </c:pt>
                <c:pt idx="2">
                  <c:v>0.0</c:v>
                </c:pt>
                <c:pt idx="3">
                  <c:v>-0.20959373701244485</c:v>
                </c:pt>
                <c:pt idx="4">
                  <c:v>-0.35798492209142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ANNA ZARADNA WAVE TOP SCENTED FLORAL BLUE 35L 2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09</c:v>
                </c:pt>
                <c:pt idx="1">
                  <c:v>5.39</c:v>
                </c:pt>
                <c:pt idx="2">
                  <c:v>5.99</c:v>
                </c:pt>
                <c:pt idx="3">
                  <c:v>6.59</c:v>
                </c:pt>
                <c:pt idx="4">
                  <c:v>7.19</c:v>
                </c:pt>
              </c:numCache>
            </c:numRef>
          </c:xVal>
          <c:yVal>
            <c:numRef>
              <c:f>Sheet1!$B$9:$B$13</c:f>
              <c:numCache>
                <c:formatCode>General</c:formatCode>
                <c:ptCount val="5"/>
                <c:pt idx="0">
                  <c:v>0.3747161371349664</c:v>
                </c:pt>
                <c:pt idx="1">
                  <c:v>0.20622665201961146</c:v>
                </c:pt>
                <c:pt idx="2">
                  <c:v>0.0</c:v>
                </c:pt>
                <c:pt idx="3">
                  <c:v>-0.24662553109626428</c:v>
                </c:pt>
                <c:pt idx="4">
                  <c:v>-0.3741583178846321</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ANNA ZARADNA WAVE TOP SCENTED FLORAL BLUE 60L 10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09</c:v>
                </c:pt>
                <c:pt idx="1">
                  <c:v>5.39</c:v>
                </c:pt>
                <c:pt idx="2">
                  <c:v>5.99</c:v>
                </c:pt>
                <c:pt idx="3">
                  <c:v>6.59</c:v>
                </c:pt>
                <c:pt idx="4">
                  <c:v>7.19</c:v>
                </c:pt>
              </c:numCache>
            </c:numRef>
          </c:xVal>
          <c:yVal>
            <c:numRef>
              <c:f>Sheet1!$B$16:$B$20</c:f>
              <c:numCache>
                <c:formatCode>General</c:formatCode>
                <c:ptCount val="5"/>
                <c:pt idx="0">
                  <c:v>0.2858905498969223</c:v>
                </c:pt>
                <c:pt idx="1">
                  <c:v>0.14098917195318383</c:v>
                </c:pt>
                <c:pt idx="2">
                  <c:v>0.0</c:v>
                </c:pt>
                <c:pt idx="3">
                  <c:v>-0.12173978010461567</c:v>
                </c:pt>
                <c:pt idx="4">
                  <c:v>-0.2978218461693430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7.19"/>
          <c:min val="5.0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Jan Niezbedny (2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Stella (16.1%)</c:v>
                </c:pt>
                <c:pt idx="2">
                  <c:v>Carrefour (16.6%)</c:v>
                </c:pt>
                <c:pt idx="3">
                  <c:v>Anna Zaradna (3.2%)</c:v>
                </c:pt>
                <c:pt idx="4">
                  <c:v>Paclan (2.9%)</c:v>
                </c:pt>
                <c:pt idx="5">
                  <c:v>Vi Go! (2.2%)</c:v>
                </c:pt>
                <c:pt idx="6">
                  <c:v>Ravi (1.1%)</c:v>
                </c:pt>
                <c:pt idx="7">
                  <c:v>Grosik (1.1%)</c:v>
                </c:pt>
              </c:strCache>
            </c:strRef>
          </c:cat>
          <c:val>
            <c:numRef>
              <c:f>Sheet1!$B$2:$B$9</c:f>
              <c:numCache>
                <c:formatCode>General</c:formatCode>
                <c:ptCount val="8"/>
                <c:pt idx="0">
                  <c:v>0.3527552647429681</c:v>
                </c:pt>
                <c:pt idx="1">
                  <c:v>0.2571799182372553</c:v>
                </c:pt>
                <c:pt idx="2">
                  <c:v>0.22085838879615202</c:v>
                </c:pt>
                <c:pt idx="3">
                  <c:v>0.057920861223054294</c:v>
                </c:pt>
                <c:pt idx="4">
                  <c:v>0.043403530993943305</c:v>
                </c:pt>
                <c:pt idx="5">
                  <c:v>0.029653842030875163</c:v>
                </c:pt>
                <c:pt idx="6">
                  <c:v>0.021556019276838125</c:v>
                </c:pt>
                <c:pt idx="7">
                  <c:v>0.0166721746988960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JAN NIEZBĘDNY MAGNUM FLEX ODOR LOCK 35L 15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29</c:v>
                </c:pt>
                <c:pt idx="1">
                  <c:v>7.69</c:v>
                </c:pt>
                <c:pt idx="2">
                  <c:v>8.59</c:v>
                </c:pt>
                <c:pt idx="3">
                  <c:v>9.39</c:v>
                </c:pt>
                <c:pt idx="4">
                  <c:v>10.29</c:v>
                </c:pt>
              </c:numCache>
            </c:numRef>
          </c:xVal>
          <c:yVal>
            <c:numRef>
              <c:f>Sheet1!$B$2:$B$6</c:f>
              <c:numCache>
                <c:formatCode>General</c:formatCode>
                <c:ptCount val="5"/>
                <c:pt idx="0">
                  <c:v>0.24558951827607553</c:v>
                </c:pt>
                <c:pt idx="1">
                  <c:v>0.18706232170960294</c:v>
                </c:pt>
                <c:pt idx="2">
                  <c:v>0.0</c:v>
                </c:pt>
                <c:pt idx="3">
                  <c:v>-0.19564350377968773</c:v>
                </c:pt>
                <c:pt idx="4">
                  <c:v>-0.289147528905933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JAN NIEZBĘDNY MAGNUM FLEX ODOR LOCK 60L 1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29</c:v>
                </c:pt>
                <c:pt idx="1">
                  <c:v>7.79</c:v>
                </c:pt>
                <c:pt idx="2">
                  <c:v>8.59</c:v>
                </c:pt>
                <c:pt idx="3">
                  <c:v>9.49</c:v>
                </c:pt>
                <c:pt idx="4">
                  <c:v>10.29</c:v>
                </c:pt>
              </c:numCache>
            </c:numRef>
          </c:xVal>
          <c:yVal>
            <c:numRef>
              <c:f>Sheet1!$B$9:$B$13</c:f>
              <c:numCache>
                <c:formatCode>General</c:formatCode>
                <c:ptCount val="5"/>
                <c:pt idx="0">
                  <c:v>0.20937307873688799</c:v>
                </c:pt>
                <c:pt idx="1">
                  <c:v>0.13284745142171178</c:v>
                </c:pt>
                <c:pt idx="2">
                  <c:v>0.0</c:v>
                </c:pt>
                <c:pt idx="3">
                  <c:v>-0.11353603644642814</c:v>
                </c:pt>
                <c:pt idx="4">
                  <c:v>-0.239064523648654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JAN NIEZBEDNY MAGNUM FLEX DRAW TAPE UNSCENTED 60L 3X10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9</c:v>
                </c:pt>
                <c:pt idx="1">
                  <c:v>17.99</c:v>
                </c:pt>
                <c:pt idx="2">
                  <c:v>19.99</c:v>
                </c:pt>
                <c:pt idx="3">
                  <c:v>21.99</c:v>
                </c:pt>
                <c:pt idx="4">
                  <c:v>23.99</c:v>
                </c:pt>
              </c:numCache>
            </c:numRef>
          </c:xVal>
          <c:yVal>
            <c:numRef>
              <c:f>Sheet1!$B$16:$B$20</c:f>
              <c:numCache>
                <c:formatCode>General</c:formatCode>
                <c:ptCount val="5"/>
                <c:pt idx="0">
                  <c:v>0.11059877169917637</c:v>
                </c:pt>
                <c:pt idx="1">
                  <c:v>0.07160106995491605</c:v>
                </c:pt>
                <c:pt idx="2">
                  <c:v>0.0</c:v>
                </c:pt>
                <c:pt idx="3">
                  <c:v>-0.05066473754963805</c:v>
                </c:pt>
                <c:pt idx="4">
                  <c:v>-0.097905769105852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3.99"/>
          <c:min val="7.2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JAN NIEZBEDNY MAGNUM FLEX DRAW TAPE SCENTED LAVENDER 35L 12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29</c:v>
                </c:pt>
                <c:pt idx="1">
                  <c:v>6.69</c:v>
                </c:pt>
                <c:pt idx="2">
                  <c:v>7.39</c:v>
                </c:pt>
                <c:pt idx="3">
                  <c:v>8.09</c:v>
                </c:pt>
                <c:pt idx="4">
                  <c:v>8.89</c:v>
                </c:pt>
              </c:numCache>
            </c:numRef>
          </c:xVal>
          <c:yVal>
            <c:numRef>
              <c:f>Sheet1!$B$2:$B$6</c:f>
              <c:numCache>
                <c:formatCode>General</c:formatCode>
                <c:ptCount val="5"/>
                <c:pt idx="0">
                  <c:v>0.20613997316830815</c:v>
                </c:pt>
                <c:pt idx="1">
                  <c:v>0.113601817100955</c:v>
                </c:pt>
                <c:pt idx="2">
                  <c:v>0.0</c:v>
                </c:pt>
                <c:pt idx="3">
                  <c:v>-0.154295115605293</c:v>
                </c:pt>
                <c:pt idx="4">
                  <c:v>-0.31993527375127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JAN NIEZBEDNY MAGNUM FLEX DRAW TAPE UNSCENTED 35L 15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6.29</c:v>
                </c:pt>
                <c:pt idx="1">
                  <c:v>6.69</c:v>
                </c:pt>
                <c:pt idx="2">
                  <c:v>7.39</c:v>
                </c:pt>
                <c:pt idx="3">
                  <c:v>8.09</c:v>
                </c:pt>
                <c:pt idx="4">
                  <c:v>8.89</c:v>
                </c:pt>
              </c:numCache>
            </c:numRef>
          </c:xVal>
          <c:yVal>
            <c:numRef>
              <c:f>Sheet1!$B$9:$B$13</c:f>
              <c:numCache>
                <c:formatCode>General</c:formatCode>
                <c:ptCount val="5"/>
                <c:pt idx="0">
                  <c:v>0.15355810009561993</c:v>
                </c:pt>
                <c:pt idx="1">
                  <c:v>0.08819318873294003</c:v>
                </c:pt>
                <c:pt idx="2">
                  <c:v>0.0</c:v>
                </c:pt>
                <c:pt idx="3">
                  <c:v>-0.09058261715440334</c:v>
                </c:pt>
                <c:pt idx="4">
                  <c:v>-0.227920689655268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JAN NIEZBEDNY MAGNUM FLEX DRAW TAPE SCENTED LAVENDER 60L 8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29</c:v>
                </c:pt>
                <c:pt idx="1">
                  <c:v>6.69</c:v>
                </c:pt>
                <c:pt idx="2">
                  <c:v>7.39</c:v>
                </c:pt>
                <c:pt idx="3">
                  <c:v>8.09</c:v>
                </c:pt>
                <c:pt idx="4">
                  <c:v>8.89</c:v>
                </c:pt>
              </c:numCache>
            </c:numRef>
          </c:xVal>
          <c:yVal>
            <c:numRef>
              <c:f>Sheet1!$B$16:$B$20</c:f>
              <c:numCache>
                <c:formatCode>General</c:formatCode>
                <c:ptCount val="5"/>
                <c:pt idx="0">
                  <c:v>0.2151680338702542</c:v>
                </c:pt>
                <c:pt idx="1">
                  <c:v>0.14590579627551062</c:v>
                </c:pt>
                <c:pt idx="2">
                  <c:v>0.0</c:v>
                </c:pt>
                <c:pt idx="3">
                  <c:v>-0.09896640908820678</c:v>
                </c:pt>
                <c:pt idx="4">
                  <c:v>-0.2363187722762405</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JAN NIEZBEDNY MAGNUM FLEX DRAW TAPE UNSCENTED 60L 10CT</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6.29</c:v>
                </c:pt>
                <c:pt idx="1">
                  <c:v>6.69</c:v>
                </c:pt>
                <c:pt idx="2">
                  <c:v>7.39</c:v>
                </c:pt>
                <c:pt idx="3">
                  <c:v>8.09</c:v>
                </c:pt>
                <c:pt idx="4">
                  <c:v>8.89</c:v>
                </c:pt>
              </c:numCache>
            </c:numRef>
          </c:xVal>
          <c:yVal>
            <c:numRef>
              <c:f>Sheet1!$B$23:$B$27</c:f>
              <c:numCache>
                <c:formatCode>General</c:formatCode>
                <c:ptCount val="5"/>
                <c:pt idx="0">
                  <c:v>0.13335448691794632</c:v>
                </c:pt>
                <c:pt idx="1">
                  <c:v>0.09632602224891759</c:v>
                </c:pt>
                <c:pt idx="2">
                  <c:v>0.0</c:v>
                </c:pt>
                <c:pt idx="3">
                  <c:v>-0.06488109465491551</c:v>
                </c:pt>
                <c:pt idx="4">
                  <c:v>-0.12976561814807316</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JAN NIEZBEDNY MAGNUM FLEX DRAW TAPE UNSCENTED 120L 8CT</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1.89</c:v>
                </c:pt>
                <c:pt idx="1">
                  <c:v>12.59</c:v>
                </c:pt>
                <c:pt idx="2">
                  <c:v>13.99</c:v>
                </c:pt>
                <c:pt idx="3">
                  <c:v>15.39</c:v>
                </c:pt>
                <c:pt idx="4">
                  <c:v>16.79</c:v>
                </c:pt>
              </c:numCache>
            </c:numRef>
          </c:xVal>
          <c:yVal>
            <c:numRef>
              <c:f>Sheet1!$B$30:$B$34</c:f>
              <c:numCache>
                <c:formatCode>General</c:formatCode>
                <c:ptCount val="5"/>
                <c:pt idx="0">
                  <c:v>0.235572234260857</c:v>
                </c:pt>
                <c:pt idx="1">
                  <c:v>0.14064825410505977</c:v>
                </c:pt>
                <c:pt idx="2">
                  <c:v>0.0</c:v>
                </c:pt>
                <c:pt idx="3">
                  <c:v>-0.09786991281853906</c:v>
                </c:pt>
                <c:pt idx="4">
                  <c:v>-0.1816825936231132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6.79"/>
          <c:min val="6.2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JAN NIEZBĘDNY ELASTIC DRAW TAPE 35L 12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29</c:v>
                </c:pt>
                <c:pt idx="1">
                  <c:v>6.69</c:v>
                </c:pt>
                <c:pt idx="2">
                  <c:v>7.39</c:v>
                </c:pt>
                <c:pt idx="3">
                  <c:v>8.09</c:v>
                </c:pt>
                <c:pt idx="4">
                  <c:v>8.89</c:v>
                </c:pt>
              </c:numCache>
            </c:numRef>
          </c:xVal>
          <c:yVal>
            <c:numRef>
              <c:f>Sheet1!$B$2:$B$6</c:f>
              <c:numCache>
                <c:formatCode>General</c:formatCode>
                <c:ptCount val="5"/>
                <c:pt idx="0">
                  <c:v>0.1493179460966342</c:v>
                </c:pt>
                <c:pt idx="1">
                  <c:v>0.08840829633499141</c:v>
                </c:pt>
                <c:pt idx="2">
                  <c:v>0.0</c:v>
                </c:pt>
                <c:pt idx="3">
                  <c:v>-0.11960110281081274</c:v>
                </c:pt>
                <c:pt idx="4">
                  <c:v>-0.253914077941128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JAN NIEZBĘDNY ELASTIC DRAW TAPE 60L 8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6.29</c:v>
                </c:pt>
                <c:pt idx="1">
                  <c:v>6.69</c:v>
                </c:pt>
                <c:pt idx="2">
                  <c:v>7.39</c:v>
                </c:pt>
                <c:pt idx="3">
                  <c:v>8.09</c:v>
                </c:pt>
                <c:pt idx="4">
                  <c:v>8.89</c:v>
                </c:pt>
              </c:numCache>
            </c:numRef>
          </c:xVal>
          <c:yVal>
            <c:numRef>
              <c:f>Sheet1!$B$9:$B$13</c:f>
              <c:numCache>
                <c:formatCode>General</c:formatCode>
                <c:ptCount val="5"/>
                <c:pt idx="0">
                  <c:v>0.22992288144991607</c:v>
                </c:pt>
                <c:pt idx="1">
                  <c:v>0.1691654534148416</c:v>
                </c:pt>
                <c:pt idx="2">
                  <c:v>0.0</c:v>
                </c:pt>
                <c:pt idx="3">
                  <c:v>-0.08416445708293098</c:v>
                </c:pt>
                <c:pt idx="4">
                  <c:v>-0.1880443375731490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89"/>
          <c:min val="6.2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JAN NIEZBEDNY DRAW TAPE UNSCENTED 60L 40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5.49</c:v>
                </c:pt>
                <c:pt idx="1">
                  <c:v>26.99</c:v>
                </c:pt>
                <c:pt idx="2">
                  <c:v>29.99</c:v>
                </c:pt>
                <c:pt idx="3">
                  <c:v>32.99</c:v>
                </c:pt>
                <c:pt idx="4">
                  <c:v>35.99</c:v>
                </c:pt>
              </c:numCache>
            </c:numRef>
          </c:xVal>
          <c:yVal>
            <c:numRef>
              <c:f>Sheet1!$B$2:$B$6</c:f>
              <c:numCache>
                <c:formatCode>General</c:formatCode>
                <c:ptCount val="5"/>
                <c:pt idx="0">
                  <c:v>0.12465136970885136</c:v>
                </c:pt>
                <c:pt idx="1">
                  <c:v>0.08096848155337034</c:v>
                </c:pt>
                <c:pt idx="2">
                  <c:v>0.0</c:v>
                </c:pt>
                <c:pt idx="3">
                  <c:v>-0.10688896346275015</c:v>
                </c:pt>
                <c:pt idx="4">
                  <c:v>-0.200590902539466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5.99"/>
          <c:min val="25.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JAN NIEZBEDNY FLAT TOP UNSCENTED 120L 25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1.19</c:v>
                </c:pt>
                <c:pt idx="1">
                  <c:v>22.49</c:v>
                </c:pt>
                <c:pt idx="2">
                  <c:v>24.99</c:v>
                </c:pt>
                <c:pt idx="3">
                  <c:v>27.49</c:v>
                </c:pt>
                <c:pt idx="4">
                  <c:v>29.99</c:v>
                </c:pt>
              </c:numCache>
            </c:numRef>
          </c:xVal>
          <c:yVal>
            <c:numRef>
              <c:f>Sheet1!$B$2:$B$6</c:f>
              <c:numCache>
                <c:formatCode>General</c:formatCode>
                <c:ptCount val="5"/>
                <c:pt idx="0">
                  <c:v>0.11851260193744713</c:v>
                </c:pt>
                <c:pt idx="1">
                  <c:v>0.0744542923643587</c:v>
                </c:pt>
                <c:pt idx="2">
                  <c:v>0.0</c:v>
                </c:pt>
                <c:pt idx="3">
                  <c:v>-0.06247057901438157</c:v>
                </c:pt>
                <c:pt idx="4">
                  <c:v>-0.1199873859397379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JAN NIEZBEDNY FLAT TOP UNSCENTED 160L 2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5.99</c:v>
                </c:pt>
                <c:pt idx="1">
                  <c:v>27.49</c:v>
                </c:pt>
                <c:pt idx="2">
                  <c:v>30.59</c:v>
                </c:pt>
                <c:pt idx="3">
                  <c:v>33.59</c:v>
                </c:pt>
                <c:pt idx="4">
                  <c:v>36.69</c:v>
                </c:pt>
              </c:numCache>
            </c:numRef>
          </c:xVal>
          <c:yVal>
            <c:numRef>
              <c:f>Sheet1!$B$9:$B$13</c:f>
              <c:numCache>
                <c:formatCode>General</c:formatCode>
                <c:ptCount val="5"/>
                <c:pt idx="0">
                  <c:v>0.13151967799097072</c:v>
                </c:pt>
                <c:pt idx="1">
                  <c:v>0.08979019628375134</c:v>
                </c:pt>
                <c:pt idx="2">
                  <c:v>0.0</c:v>
                </c:pt>
                <c:pt idx="3">
                  <c:v>-0.1129309734679159</c:v>
                </c:pt>
                <c:pt idx="4">
                  <c:v>-0.214576889226861</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JAN NIEZBEDNY FLAT TOP UNSCENTED 240L 8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9</c:v>
                </c:pt>
                <c:pt idx="1">
                  <c:v>17.99</c:v>
                </c:pt>
                <c:pt idx="2">
                  <c:v>19.99</c:v>
                </c:pt>
                <c:pt idx="3">
                  <c:v>21.99</c:v>
                </c:pt>
                <c:pt idx="4">
                  <c:v>23.99</c:v>
                </c:pt>
              </c:numCache>
            </c:numRef>
          </c:xVal>
          <c:yVal>
            <c:numRef>
              <c:f>Sheet1!$B$16:$B$20</c:f>
              <c:numCache>
                <c:formatCode>General</c:formatCode>
                <c:ptCount val="5"/>
                <c:pt idx="0">
                  <c:v>0.11583685425475045</c:v>
                </c:pt>
                <c:pt idx="1">
                  <c:v>0.0751296530657046</c:v>
                </c:pt>
                <c:pt idx="2">
                  <c:v>0.0</c:v>
                </c:pt>
                <c:pt idx="3">
                  <c:v>-0.058847185796819544</c:v>
                </c:pt>
                <c:pt idx="4">
                  <c:v>-0.1131778875188232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69"/>
          <c:min val="16.9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JAN NIEZBEDNY T-SHIRT SCENTED YELLOW 20L 30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9</c:v>
                </c:pt>
                <c:pt idx="1">
                  <c:v>3.59</c:v>
                </c:pt>
                <c:pt idx="2">
                  <c:v>3.99</c:v>
                </c:pt>
                <c:pt idx="3">
                  <c:v>4.39</c:v>
                </c:pt>
                <c:pt idx="4">
                  <c:v>4.79</c:v>
                </c:pt>
              </c:numCache>
            </c:numRef>
          </c:xVal>
          <c:yVal>
            <c:numRef>
              <c:f>Sheet1!$B$2:$B$6</c:f>
              <c:numCache>
                <c:formatCode>General</c:formatCode>
                <c:ptCount val="5"/>
                <c:pt idx="0">
                  <c:v>0.13613917699161382</c:v>
                </c:pt>
                <c:pt idx="1">
                  <c:v>0.06955421235054239</c:v>
                </c:pt>
                <c:pt idx="2">
                  <c:v>0.0</c:v>
                </c:pt>
                <c:pt idx="3">
                  <c:v>-0.10737239390182653</c:v>
                </c:pt>
                <c:pt idx="4">
                  <c:v>-0.15872374765384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JAN NIEZBEDNY T-SHIRT SCENTED 35L 3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29</c:v>
                </c:pt>
                <c:pt idx="1">
                  <c:v>5.59</c:v>
                </c:pt>
                <c:pt idx="2">
                  <c:v>6.19</c:v>
                </c:pt>
                <c:pt idx="3">
                  <c:v>6.79</c:v>
                </c:pt>
                <c:pt idx="4">
                  <c:v>7.39</c:v>
                </c:pt>
              </c:numCache>
            </c:numRef>
          </c:xVal>
          <c:yVal>
            <c:numRef>
              <c:f>Sheet1!$B$9:$B$13</c:f>
              <c:numCache>
                <c:formatCode>General</c:formatCode>
                <c:ptCount val="5"/>
                <c:pt idx="0">
                  <c:v>0.5158407337743562</c:v>
                </c:pt>
                <c:pt idx="1">
                  <c:v>0.336129623685621</c:v>
                </c:pt>
                <c:pt idx="2">
                  <c:v>0.0</c:v>
                </c:pt>
                <c:pt idx="3">
                  <c:v>-0.22165422450165348</c:v>
                </c:pt>
                <c:pt idx="4">
                  <c:v>-0.331429118944240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JAN NIEZBEDNY T-SHIRT SCENTED PURPLE 60L 20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99</c:v>
                </c:pt>
                <c:pt idx="1">
                  <c:v>7.39</c:v>
                </c:pt>
                <c:pt idx="2">
                  <c:v>8.19</c:v>
                </c:pt>
                <c:pt idx="3">
                  <c:v>8.99</c:v>
                </c:pt>
                <c:pt idx="4">
                  <c:v>9.79</c:v>
                </c:pt>
              </c:numCache>
            </c:numRef>
          </c:xVal>
          <c:yVal>
            <c:numRef>
              <c:f>Sheet1!$B$16:$B$20</c:f>
              <c:numCache>
                <c:formatCode>General</c:formatCode>
                <c:ptCount val="5"/>
                <c:pt idx="0">
                  <c:v>0.2856581516010934</c:v>
                </c:pt>
                <c:pt idx="1">
                  <c:v>0.136145875946448</c:v>
                </c:pt>
                <c:pt idx="2">
                  <c:v>0.0</c:v>
                </c:pt>
                <c:pt idx="3">
                  <c:v>-0.21505629881296875</c:v>
                </c:pt>
                <c:pt idx="4">
                  <c:v>-0.2952378202539130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79"/>
          <c:min val="3.3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JAN NIEZBEDNY WAVE TOP UNSCENTED 15L 26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09</c:v>
                </c:pt>
                <c:pt idx="1">
                  <c:v>6.49</c:v>
                </c:pt>
                <c:pt idx="2">
                  <c:v>7.19</c:v>
                </c:pt>
                <c:pt idx="3">
                  <c:v>7.89</c:v>
                </c:pt>
                <c:pt idx="4">
                  <c:v>8.59</c:v>
                </c:pt>
              </c:numCache>
            </c:numRef>
          </c:xVal>
          <c:yVal>
            <c:numRef>
              <c:f>Sheet1!$B$2:$B$6</c:f>
              <c:numCache>
                <c:formatCode>General</c:formatCode>
                <c:ptCount val="5"/>
                <c:pt idx="0">
                  <c:v>0.32818756235173174</c:v>
                </c:pt>
                <c:pt idx="1">
                  <c:v>0.1627717211131862</c:v>
                </c:pt>
                <c:pt idx="2">
                  <c:v>0.0</c:v>
                </c:pt>
                <c:pt idx="3">
                  <c:v>-0.09504405662077987</c:v>
                </c:pt>
                <c:pt idx="4">
                  <c:v>-0.2151263367103595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JAN NIEZBEDNY WAVE TOP UNSCENTED BLUE 35L 36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19</c:v>
                </c:pt>
                <c:pt idx="1">
                  <c:v>7.59</c:v>
                </c:pt>
                <c:pt idx="2">
                  <c:v>8.49</c:v>
                </c:pt>
                <c:pt idx="3">
                  <c:v>9.29</c:v>
                </c:pt>
                <c:pt idx="4">
                  <c:v>10.19</c:v>
                </c:pt>
              </c:numCache>
            </c:numRef>
          </c:xVal>
          <c:yVal>
            <c:numRef>
              <c:f>Sheet1!$B$9:$B$13</c:f>
              <c:numCache>
                <c:formatCode>General</c:formatCode>
                <c:ptCount val="5"/>
                <c:pt idx="0">
                  <c:v>0.18773522754114835</c:v>
                </c:pt>
                <c:pt idx="1">
                  <c:v>0.15175759183689913</c:v>
                </c:pt>
                <c:pt idx="2">
                  <c:v>0.0</c:v>
                </c:pt>
                <c:pt idx="3">
                  <c:v>-0.25697179660500896</c:v>
                </c:pt>
                <c:pt idx="4">
                  <c:v>-0.3451674918791498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JAN NIEZBĘDNY EASY-PACK WAVE TOP CHERRY 60L 18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19</c:v>
                </c:pt>
                <c:pt idx="1">
                  <c:v>7.59</c:v>
                </c:pt>
                <c:pt idx="2">
                  <c:v>8.49</c:v>
                </c:pt>
                <c:pt idx="3">
                  <c:v>9.29</c:v>
                </c:pt>
                <c:pt idx="4">
                  <c:v>10.19</c:v>
                </c:pt>
              </c:numCache>
            </c:numRef>
          </c:xVal>
          <c:yVal>
            <c:numRef>
              <c:f>Sheet1!$B$16:$B$20</c:f>
              <c:numCache>
                <c:formatCode>General</c:formatCode>
                <c:ptCount val="5"/>
                <c:pt idx="0">
                  <c:v>0.30491640011815957</c:v>
                </c:pt>
                <c:pt idx="1">
                  <c:v>0.23792449951456912</c:v>
                </c:pt>
                <c:pt idx="2">
                  <c:v>0.0</c:v>
                </c:pt>
                <c:pt idx="3">
                  <c:v>-0.10527432739602682</c:v>
                </c:pt>
                <c:pt idx="4">
                  <c:v>-0.24391897202644636</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JAN NIEZBEDNY WAVE TOP UNSCENTED BLUE 60L 20CT</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7.19</c:v>
                </c:pt>
                <c:pt idx="1">
                  <c:v>7.59</c:v>
                </c:pt>
                <c:pt idx="2">
                  <c:v>8.49</c:v>
                </c:pt>
                <c:pt idx="3">
                  <c:v>9.29</c:v>
                </c:pt>
                <c:pt idx="4">
                  <c:v>10.19</c:v>
                </c:pt>
              </c:numCache>
            </c:numRef>
          </c:xVal>
          <c:yVal>
            <c:numRef>
              <c:f>Sheet1!$B$23:$B$27</c:f>
              <c:numCache>
                <c:formatCode>General</c:formatCode>
                <c:ptCount val="5"/>
                <c:pt idx="0">
                  <c:v>0.22224745008608487</c:v>
                </c:pt>
                <c:pt idx="1">
                  <c:v>0.1528036397811331</c:v>
                </c:pt>
                <c:pt idx="2">
                  <c:v>0.0</c:v>
                </c:pt>
                <c:pt idx="3">
                  <c:v>-0.12988018640227075</c:v>
                </c:pt>
                <c:pt idx="4">
                  <c:v>-0.2574860179520017</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JAN NIEZBEDNY WAVE TOP UNSCENTED 120L 15CT</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8.49</c:v>
                </c:pt>
                <c:pt idx="1">
                  <c:v>8.99</c:v>
                </c:pt>
                <c:pt idx="2">
                  <c:v>9.99</c:v>
                </c:pt>
                <c:pt idx="3">
                  <c:v>10.99</c:v>
                </c:pt>
                <c:pt idx="4">
                  <c:v>11.99</c:v>
                </c:pt>
              </c:numCache>
            </c:numRef>
          </c:xVal>
          <c:yVal>
            <c:numRef>
              <c:f>Sheet1!$B$30:$B$34</c:f>
              <c:numCache>
                <c:formatCode>General</c:formatCode>
                <c:ptCount val="5"/>
                <c:pt idx="0">
                  <c:v>0.31701813476322316</c:v>
                </c:pt>
                <c:pt idx="1">
                  <c:v>0.16611503642105555</c:v>
                </c:pt>
                <c:pt idx="2">
                  <c:v>0.0</c:v>
                </c:pt>
                <c:pt idx="3">
                  <c:v>-0.16521858009458268</c:v>
                </c:pt>
                <c:pt idx="4">
                  <c:v>-0.2380480819642962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9"/>
          <c:min val="6.0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JAN NIEZBĘDNY EASY-PACK WAVE TOP CHERRY 35L 26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9</c:v>
                </c:pt>
                <c:pt idx="1">
                  <c:v>7.19</c:v>
                </c:pt>
                <c:pt idx="2">
                  <c:v>7.99</c:v>
                </c:pt>
                <c:pt idx="3">
                  <c:v>8.79</c:v>
                </c:pt>
                <c:pt idx="4">
                  <c:v>9.59</c:v>
                </c:pt>
              </c:numCache>
            </c:numRef>
          </c:xVal>
          <c:yVal>
            <c:numRef>
              <c:f>Sheet1!$B$2:$B$6</c:f>
              <c:numCache>
                <c:formatCode>General</c:formatCode>
                <c:ptCount val="5"/>
                <c:pt idx="0">
                  <c:v>0.3273630609132407</c:v>
                </c:pt>
                <c:pt idx="1">
                  <c:v>0.1676192827122571</c:v>
                </c:pt>
                <c:pt idx="2">
                  <c:v>0.0</c:v>
                </c:pt>
                <c:pt idx="3">
                  <c:v>-0.2613202698784551</c:v>
                </c:pt>
                <c:pt idx="4">
                  <c:v>-0.4143090306589175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JAN NIEZBEDNY WAVE TOP UNSCENTED BLUE 35L 3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19</c:v>
                </c:pt>
                <c:pt idx="1">
                  <c:v>7.59</c:v>
                </c:pt>
                <c:pt idx="2">
                  <c:v>8.49</c:v>
                </c:pt>
                <c:pt idx="3">
                  <c:v>9.29</c:v>
                </c:pt>
                <c:pt idx="4">
                  <c:v>10.19</c:v>
                </c:pt>
              </c:numCache>
            </c:numRef>
          </c:xVal>
          <c:yVal>
            <c:numRef>
              <c:f>Sheet1!$B$9:$B$13</c:f>
              <c:numCache>
                <c:formatCode>General</c:formatCode>
                <c:ptCount val="5"/>
                <c:pt idx="0">
                  <c:v>0.2219053645760449</c:v>
                </c:pt>
                <c:pt idx="1">
                  <c:v>0.18641375859412423</c:v>
                </c:pt>
                <c:pt idx="2">
                  <c:v>0.0</c:v>
                </c:pt>
                <c:pt idx="3">
                  <c:v>-0.24936691256481863</c:v>
                </c:pt>
                <c:pt idx="4">
                  <c:v>-0.342900729200541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19"/>
          <c:min val="6.7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TELLA DRAW TAPE SCENTED FRESH 35L 15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9</c:v>
                </c:pt>
                <c:pt idx="1">
                  <c:v>8.99</c:v>
                </c:pt>
                <c:pt idx="2">
                  <c:v>9.99</c:v>
                </c:pt>
                <c:pt idx="3">
                  <c:v>10.99</c:v>
                </c:pt>
                <c:pt idx="4">
                  <c:v>11.99</c:v>
                </c:pt>
              </c:numCache>
            </c:numRef>
          </c:xVal>
          <c:yVal>
            <c:numRef>
              <c:f>Sheet1!$B$2:$B$6</c:f>
              <c:numCache>
                <c:formatCode>General</c:formatCode>
                <c:ptCount val="5"/>
                <c:pt idx="0">
                  <c:v>0.4298860327954386</c:v>
                </c:pt>
                <c:pt idx="1">
                  <c:v>0.16152536411304172</c:v>
                </c:pt>
                <c:pt idx="2">
                  <c:v>0.0</c:v>
                </c:pt>
                <c:pt idx="3">
                  <c:v>-0.18209296700260813</c:v>
                </c:pt>
                <c:pt idx="4">
                  <c:v>-0.233610468007983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TELLA DRAW TAPE SCENTED LAVENDER PURPLE 35L 15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9</c:v>
                </c:pt>
                <c:pt idx="1">
                  <c:v>8.99</c:v>
                </c:pt>
                <c:pt idx="2">
                  <c:v>9.99</c:v>
                </c:pt>
                <c:pt idx="3">
                  <c:v>10.99</c:v>
                </c:pt>
                <c:pt idx="4">
                  <c:v>11.99</c:v>
                </c:pt>
              </c:numCache>
            </c:numRef>
          </c:xVal>
          <c:yVal>
            <c:numRef>
              <c:f>Sheet1!$B$9:$B$13</c:f>
              <c:numCache>
                <c:formatCode>General</c:formatCode>
                <c:ptCount val="5"/>
                <c:pt idx="0">
                  <c:v>0.42546025913807106</c:v>
                </c:pt>
                <c:pt idx="1">
                  <c:v>0.15045906137143167</c:v>
                </c:pt>
                <c:pt idx="2">
                  <c:v>0.0</c:v>
                </c:pt>
                <c:pt idx="3">
                  <c:v>-0.21781415713437252</c:v>
                </c:pt>
                <c:pt idx="4">
                  <c:v>-0.260323265023714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TELLA DRAW TAPE SCENTED VANILLA LATTE 35L 15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8.49</c:v>
                </c:pt>
                <c:pt idx="1">
                  <c:v>8.99</c:v>
                </c:pt>
                <c:pt idx="2">
                  <c:v>9.99</c:v>
                </c:pt>
                <c:pt idx="3">
                  <c:v>10.99</c:v>
                </c:pt>
                <c:pt idx="4">
                  <c:v>11.99</c:v>
                </c:pt>
              </c:numCache>
            </c:numRef>
          </c:xVal>
          <c:yVal>
            <c:numRef>
              <c:f>Sheet1!$B$16:$B$20</c:f>
              <c:numCache>
                <c:formatCode>General</c:formatCode>
                <c:ptCount val="5"/>
                <c:pt idx="0">
                  <c:v>0.34948936352656695</c:v>
                </c:pt>
                <c:pt idx="1">
                  <c:v>0.12854804558192504</c:v>
                </c:pt>
                <c:pt idx="2">
                  <c:v>0.0</c:v>
                </c:pt>
                <c:pt idx="3">
                  <c:v>-0.14953234726435521</c:v>
                </c:pt>
                <c:pt idx="4">
                  <c:v>-0.1825910240652784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9"/>
          <c:min val="8.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TELLA DRAW TAPE SCENTED FRESH 60L 10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9</c:v>
                </c:pt>
                <c:pt idx="1">
                  <c:v>8.99</c:v>
                </c:pt>
                <c:pt idx="2">
                  <c:v>9.99</c:v>
                </c:pt>
                <c:pt idx="3">
                  <c:v>10.99</c:v>
                </c:pt>
                <c:pt idx="4">
                  <c:v>11.99</c:v>
                </c:pt>
              </c:numCache>
            </c:numRef>
          </c:xVal>
          <c:yVal>
            <c:numRef>
              <c:f>Sheet1!$B$2:$B$6</c:f>
              <c:numCache>
                <c:formatCode>General</c:formatCode>
                <c:ptCount val="5"/>
                <c:pt idx="0">
                  <c:v>0.30353095170786426</c:v>
                </c:pt>
                <c:pt idx="1">
                  <c:v>0.1699961870639387</c:v>
                </c:pt>
                <c:pt idx="2">
                  <c:v>0.0</c:v>
                </c:pt>
                <c:pt idx="3">
                  <c:v>-0.15656624608122705</c:v>
                </c:pt>
                <c:pt idx="4">
                  <c:v>-0.2241575179439077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TELLA DRAW TAPE SCENTED VANILLA LATTE 60L 1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9</c:v>
                </c:pt>
                <c:pt idx="1">
                  <c:v>8.99</c:v>
                </c:pt>
                <c:pt idx="2">
                  <c:v>9.99</c:v>
                </c:pt>
                <c:pt idx="3">
                  <c:v>10.99</c:v>
                </c:pt>
                <c:pt idx="4">
                  <c:v>11.99</c:v>
                </c:pt>
              </c:numCache>
            </c:numRef>
          </c:xVal>
          <c:yVal>
            <c:numRef>
              <c:f>Sheet1!$B$9:$B$13</c:f>
              <c:numCache>
                <c:formatCode>General</c:formatCode>
                <c:ptCount val="5"/>
                <c:pt idx="0">
                  <c:v>0.3100786738997891</c:v>
                </c:pt>
                <c:pt idx="1">
                  <c:v>0.1493427095688259</c:v>
                </c:pt>
                <c:pt idx="2">
                  <c:v>0.0</c:v>
                </c:pt>
                <c:pt idx="3">
                  <c:v>-0.15679557602554905</c:v>
                </c:pt>
                <c:pt idx="4">
                  <c:v>-0.2115501225848167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TELLA DRAW TAPE SCENTED LAVENDER PURPLE 60L 10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8.49</c:v>
                </c:pt>
                <c:pt idx="1">
                  <c:v>8.99</c:v>
                </c:pt>
                <c:pt idx="2">
                  <c:v>9.99</c:v>
                </c:pt>
                <c:pt idx="3">
                  <c:v>10.99</c:v>
                </c:pt>
                <c:pt idx="4">
                  <c:v>11.99</c:v>
                </c:pt>
              </c:numCache>
            </c:numRef>
          </c:xVal>
          <c:yVal>
            <c:numRef>
              <c:f>Sheet1!$B$16:$B$20</c:f>
              <c:numCache>
                <c:formatCode>General</c:formatCode>
                <c:ptCount val="5"/>
                <c:pt idx="0">
                  <c:v>0.2862488967049916</c:v>
                </c:pt>
                <c:pt idx="1">
                  <c:v>0.1582893520653056</c:v>
                </c:pt>
                <c:pt idx="2">
                  <c:v>0.0</c:v>
                </c:pt>
                <c:pt idx="3">
                  <c:v>-0.16055503056776718</c:v>
                </c:pt>
                <c:pt idx="4">
                  <c:v>-0.2211429664452107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9"/>
          <c:min val="8.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Jan Niezbedny (2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Stella (16.1%)</c:v>
                </c:pt>
                <c:pt idx="2">
                  <c:v>Carrefour (16.6%)</c:v>
                </c:pt>
                <c:pt idx="3">
                  <c:v>Anna Zaradna (3.2%)</c:v>
                </c:pt>
                <c:pt idx="4">
                  <c:v>Paclan (2.9%)</c:v>
                </c:pt>
                <c:pt idx="5">
                  <c:v>Vi Go! (2.2%)</c:v>
                </c:pt>
                <c:pt idx="6">
                  <c:v>Ravi (1.1%)</c:v>
                </c:pt>
                <c:pt idx="7">
                  <c:v>Grosik (1.1%)</c:v>
                </c:pt>
              </c:strCache>
            </c:strRef>
          </c:cat>
          <c:val>
            <c:numRef>
              <c:f>Sheet1!$B$2:$B$9</c:f>
              <c:numCache>
                <c:formatCode>General</c:formatCode>
                <c:ptCount val="8"/>
                <c:pt idx="0">
                  <c:v>0.34255806763309293</c:v>
                </c:pt>
                <c:pt idx="1">
                  <c:v>0.26475654601097687</c:v>
                </c:pt>
                <c:pt idx="2">
                  <c:v>0.22255946220038697</c:v>
                </c:pt>
                <c:pt idx="3">
                  <c:v>0.061653562990807535</c:v>
                </c:pt>
                <c:pt idx="4">
                  <c:v>0.039904102581727635</c:v>
                </c:pt>
                <c:pt idx="5">
                  <c:v>0.028997891092008815</c:v>
                </c:pt>
                <c:pt idx="6">
                  <c:v>0.019824152129457838</c:v>
                </c:pt>
                <c:pt idx="7">
                  <c:v>0.0197462153615652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TELLA DRAW TAPE SCENTED LAVENDER PURPLE 120L 10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4.39</c:v>
                </c:pt>
                <c:pt idx="1">
                  <c:v>15.19</c:v>
                </c:pt>
                <c:pt idx="2">
                  <c:v>16.89</c:v>
                </c:pt>
                <c:pt idx="3">
                  <c:v>18.59</c:v>
                </c:pt>
                <c:pt idx="4">
                  <c:v>20.29</c:v>
                </c:pt>
              </c:numCache>
            </c:numRef>
          </c:xVal>
          <c:yVal>
            <c:numRef>
              <c:f>Sheet1!$B$2:$B$6</c:f>
              <c:numCache>
                <c:formatCode>General</c:formatCode>
                <c:ptCount val="5"/>
                <c:pt idx="0">
                  <c:v>0.29016140366867904</c:v>
                </c:pt>
                <c:pt idx="1">
                  <c:v>0.16248928805469037</c:v>
                </c:pt>
                <c:pt idx="2">
                  <c:v>0.0</c:v>
                </c:pt>
                <c:pt idx="3">
                  <c:v>-0.07374685183891819</c:v>
                </c:pt>
                <c:pt idx="4">
                  <c:v>-0.1348509015756061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0.29"/>
          <c:min val="14.3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TELLA WAVE TOP SCENTED FRUIT BEIGE 15L 30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19</c:v>
                </c:pt>
                <c:pt idx="1">
                  <c:v>4.49</c:v>
                </c:pt>
                <c:pt idx="2">
                  <c:v>4.99</c:v>
                </c:pt>
                <c:pt idx="3">
                  <c:v>5.49</c:v>
                </c:pt>
                <c:pt idx="4">
                  <c:v>5.99</c:v>
                </c:pt>
              </c:numCache>
            </c:numRef>
          </c:xVal>
          <c:yVal>
            <c:numRef>
              <c:f>Sheet1!$B$2:$B$6</c:f>
              <c:numCache>
                <c:formatCode>General</c:formatCode>
                <c:ptCount val="5"/>
                <c:pt idx="0">
                  <c:v>0.11362847026527476</c:v>
                </c:pt>
                <c:pt idx="1">
                  <c:v>0.05602775635989172</c:v>
                </c:pt>
                <c:pt idx="2">
                  <c:v>0.0</c:v>
                </c:pt>
                <c:pt idx="3">
                  <c:v>-0.10409745681698501</c:v>
                </c:pt>
                <c:pt idx="4">
                  <c:v>-0.1619745275760257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9"/>
          <c:min val="4.1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TELLA WAVE TOP UNSCENTED 35L 4X10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69</c:v>
                </c:pt>
                <c:pt idx="1">
                  <c:v>13.49</c:v>
                </c:pt>
                <c:pt idx="2">
                  <c:v>14.99</c:v>
                </c:pt>
                <c:pt idx="3">
                  <c:v>16.49</c:v>
                </c:pt>
                <c:pt idx="4">
                  <c:v>17.99</c:v>
                </c:pt>
              </c:numCache>
            </c:numRef>
          </c:xVal>
          <c:yVal>
            <c:numRef>
              <c:f>Sheet1!$B$2:$B$6</c:f>
              <c:numCache>
                <c:formatCode>General</c:formatCode>
                <c:ptCount val="5"/>
                <c:pt idx="0">
                  <c:v>0.40089291994972653</c:v>
                </c:pt>
                <c:pt idx="1">
                  <c:v>0.22937843146133288</c:v>
                </c:pt>
                <c:pt idx="2">
                  <c:v>0.0</c:v>
                </c:pt>
                <c:pt idx="3">
                  <c:v>-0.11288210700756428</c:v>
                </c:pt>
                <c:pt idx="4">
                  <c:v>-0.1646063500224785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TELLA WAVE TOP UNSCENTED 35L 3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29</c:v>
                </c:pt>
                <c:pt idx="1">
                  <c:v>4.49</c:v>
                </c:pt>
                <c:pt idx="2">
                  <c:v>4.99</c:v>
                </c:pt>
                <c:pt idx="3">
                  <c:v>5.49</c:v>
                </c:pt>
                <c:pt idx="4">
                  <c:v>5.99</c:v>
                </c:pt>
              </c:numCache>
            </c:numRef>
          </c:xVal>
          <c:yVal>
            <c:numRef>
              <c:f>Sheet1!$B$9:$B$13</c:f>
              <c:numCache>
                <c:formatCode>General</c:formatCode>
                <c:ptCount val="5"/>
                <c:pt idx="0">
                  <c:v>0.12851526050160814</c:v>
                </c:pt>
                <c:pt idx="1">
                  <c:v>0.08137329154741012</c:v>
                </c:pt>
                <c:pt idx="2">
                  <c:v>0.0</c:v>
                </c:pt>
                <c:pt idx="3">
                  <c:v>-0.1596738601807967</c:v>
                </c:pt>
                <c:pt idx="4">
                  <c:v>-0.295718420432892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TELLA WAVE TOP SCENTED LAVENDER PURPLE 35L 24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79</c:v>
                </c:pt>
                <c:pt idx="1">
                  <c:v>7.19</c:v>
                </c:pt>
                <c:pt idx="2">
                  <c:v>7.99</c:v>
                </c:pt>
                <c:pt idx="3">
                  <c:v>8.79</c:v>
                </c:pt>
                <c:pt idx="4">
                  <c:v>9.59</c:v>
                </c:pt>
              </c:numCache>
            </c:numRef>
          </c:xVal>
          <c:yVal>
            <c:numRef>
              <c:f>Sheet1!$B$16:$B$20</c:f>
              <c:numCache>
                <c:formatCode>General</c:formatCode>
                <c:ptCount val="5"/>
                <c:pt idx="0">
                  <c:v>0.28086070323121465</c:v>
                </c:pt>
                <c:pt idx="1">
                  <c:v>0.15164406501399952</c:v>
                </c:pt>
                <c:pt idx="2">
                  <c:v>0.0</c:v>
                </c:pt>
                <c:pt idx="3">
                  <c:v>-0.2691085802154436</c:v>
                </c:pt>
                <c:pt idx="4">
                  <c:v>-0.413467329924048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7.99"/>
          <c:min val="4.2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TELLA WAVE TOP UNSCENTED 60L PLASTIC 14CT</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5.49</c:v>
                </c:pt>
                <c:pt idx="1">
                  <c:v>5.79</c:v>
                </c:pt>
                <c:pt idx="2">
                  <c:v>6.49</c:v>
                </c:pt>
                <c:pt idx="3">
                  <c:v>7.09</c:v>
                </c:pt>
                <c:pt idx="4">
                  <c:v>7.79</c:v>
                </c:pt>
              </c:numCache>
            </c:numRef>
          </c:xVal>
          <c:yVal>
            <c:numRef>
              <c:f>Sheet1!$B$2:$B$6</c:f>
              <c:numCache>
                <c:formatCode>General</c:formatCode>
                <c:ptCount val="5"/>
                <c:pt idx="0">
                  <c:v>0.34346060643818993</c:v>
                </c:pt>
                <c:pt idx="1">
                  <c:v>0.22642388964428567</c:v>
                </c:pt>
                <c:pt idx="2">
                  <c:v>0.0</c:v>
                </c:pt>
                <c:pt idx="3">
                  <c:v>-0.1987410086576382</c:v>
                </c:pt>
                <c:pt idx="4">
                  <c:v>-0.295023539210696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TELLA WAVE TOP UNSCENTED 60L DURABLE 20CT</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9</c:v>
                </c:pt>
                <c:pt idx="1">
                  <c:v>8.09</c:v>
                </c:pt>
                <c:pt idx="2">
                  <c:v>8.99</c:v>
                </c:pt>
                <c:pt idx="3">
                  <c:v>9.89</c:v>
                </c:pt>
                <c:pt idx="4">
                  <c:v>10.79</c:v>
                </c:pt>
              </c:numCache>
            </c:numRef>
          </c:xVal>
          <c:yVal>
            <c:numRef>
              <c:f>Sheet1!$B$9:$B$13</c:f>
              <c:numCache>
                <c:formatCode>General</c:formatCode>
                <c:ptCount val="5"/>
                <c:pt idx="0">
                  <c:v>0.2883453280935169</c:v>
                </c:pt>
                <c:pt idx="1">
                  <c:v>0.2073420006853956</c:v>
                </c:pt>
                <c:pt idx="2">
                  <c:v>0.0</c:v>
                </c:pt>
                <c:pt idx="3">
                  <c:v>-0.1158450567311291</c:v>
                </c:pt>
                <c:pt idx="4">
                  <c:v>-0.2046043844739922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TELLA WAVE TOP SCENTED VANILLA LATTE BEIGE 60L 16CT</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29</c:v>
                </c:pt>
                <c:pt idx="1">
                  <c:v>6.59</c:v>
                </c:pt>
                <c:pt idx="2">
                  <c:v>7.39</c:v>
                </c:pt>
                <c:pt idx="3">
                  <c:v>8.09</c:v>
                </c:pt>
                <c:pt idx="4">
                  <c:v>8.89</c:v>
                </c:pt>
              </c:numCache>
            </c:numRef>
          </c:xVal>
          <c:yVal>
            <c:numRef>
              <c:f>Sheet1!$B$16:$B$20</c:f>
              <c:numCache>
                <c:formatCode>General</c:formatCode>
                <c:ptCount val="5"/>
                <c:pt idx="0">
                  <c:v>0.37874769896768706</c:v>
                </c:pt>
                <c:pt idx="1">
                  <c:v>0.2769530854864287</c:v>
                </c:pt>
                <c:pt idx="2">
                  <c:v>0.0</c:v>
                </c:pt>
                <c:pt idx="3">
                  <c:v>-0.08949766323435464</c:v>
                </c:pt>
                <c:pt idx="4">
                  <c:v>-0.259274510762716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TELLA WAVE TOP SCENTED LAVENDER PURPLE 60L 16CT</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0.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7.09</c:v>
                </c:pt>
                <c:pt idx="1">
                  <c:v>7.59</c:v>
                </c:pt>
                <c:pt idx="2">
                  <c:v>8.39</c:v>
                </c:pt>
                <c:pt idx="3">
                  <c:v>9.19</c:v>
                </c:pt>
                <c:pt idx="4">
                  <c:v>10.09</c:v>
                </c:pt>
              </c:numCache>
            </c:numRef>
          </c:xVal>
          <c:yVal>
            <c:numRef>
              <c:f>Sheet1!$B$23:$B$27</c:f>
              <c:numCache>
                <c:formatCode>General</c:formatCode>
                <c:ptCount val="5"/>
                <c:pt idx="0">
                  <c:v>0.24877304560657526</c:v>
                </c:pt>
                <c:pt idx="1">
                  <c:v>0.1670270581059711</c:v>
                </c:pt>
                <c:pt idx="2">
                  <c:v>0.0</c:v>
                </c:pt>
                <c:pt idx="3">
                  <c:v>-0.09552925285517914</c:v>
                </c:pt>
                <c:pt idx="4">
                  <c:v>-0.20984737148991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79"/>
          <c:min val="5.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B$2:$B$23</c:f>
              <c:numCache>
                <c:formatCode>General</c:formatCode>
                <c:ptCount val="22"/>
                <c:pt idx="0">
                  <c:v>124.51591471046792</c:v>
                </c:pt>
                <c:pt idx="1">
                  <c:v>120.76640150368088</c:v>
                </c:pt>
                <c:pt idx="2">
                  <c:v>117.3177630108133</c:v>
                </c:pt>
                <c:pt idx="3">
                  <c:v>114.1324210372062</c:v>
                </c:pt>
                <c:pt idx="4">
                  <c:v>111.2814980341865</c:v>
                </c:pt>
                <c:pt idx="5">
                  <c:v>108.6602229727369</c:v>
                </c:pt>
                <c:pt idx="6">
                  <c:v>106.24280256096881</c:v>
                </c:pt>
                <c:pt idx="7">
                  <c:v>104.00652134312054</c:v>
                </c:pt>
                <c:pt idx="8">
                  <c:v>101.93142291861163</c:v>
                </c:pt>
                <c:pt idx="9">
                  <c:v>100.0</c:v>
                </c:pt>
                <c:pt idx="10">
                  <c:v>93.92969090412929</c:v>
                </c:pt>
                <c:pt idx="11">
                  <c:v>88.56712914359109</c:v>
                </c:pt>
                <c:pt idx="12">
                  <c:v>83.81204375883605</c:v>
                </c:pt>
                <c:pt idx="13">
                  <c:v>81.93336981558177</c:v>
                </c:pt>
                <c:pt idx="14">
                  <c:v>80.15612629802793</c:v>
                </c:pt>
                <c:pt idx="15">
                  <c:v>78.47146289018666</c:v>
                </c:pt>
                <c:pt idx="16">
                  <c:v>76.58718330355751</c:v>
                </c:pt>
                <c:pt idx="17">
                  <c:v>74.77340314888437</c:v>
                </c:pt>
                <c:pt idx="18">
                  <c:v>72.60427663921288</c:v>
                </c:pt>
                <c:pt idx="19">
                  <c:v>70.58784889574929</c:v>
                </c:pt>
                <c:pt idx="20">
                  <c:v>68.70908394577334</c:v>
                </c:pt>
                <c:pt idx="21">
                  <c:v>66.954404532636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C$2:$C$23</c:f>
              <c:numCache>
                <c:formatCode>General</c:formatCode>
                <c:ptCount val="22"/>
                <c:pt idx="0">
                  <c:v>105.9895063614568</c:v>
                </c:pt>
                <c:pt idx="1">
                  <c:v>104.79180259219878</c:v>
                </c:pt>
                <c:pt idx="2">
                  <c:v>103.7367914466823</c:v>
                </c:pt>
                <c:pt idx="3">
                  <c:v>102.8054154919336</c:v>
                </c:pt>
                <c:pt idx="4">
                  <c:v>102.07785092196815</c:v>
                </c:pt>
                <c:pt idx="5">
                  <c:v>101.47059441628421</c:v>
                </c:pt>
                <c:pt idx="6">
                  <c:v>100.97047225436941</c:v>
                </c:pt>
                <c:pt idx="7">
                  <c:v>100.56559174141012</c:v>
                </c:pt>
                <c:pt idx="8">
                  <c:v>100.24527992737859</c:v>
                </c:pt>
                <c:pt idx="9">
                  <c:v>100.0</c:v>
                </c:pt>
                <c:pt idx="10">
                  <c:v>95.48106574407518</c:v>
                </c:pt>
                <c:pt idx="11">
                  <c:v>91.49367093902288</c:v>
                </c:pt>
                <c:pt idx="12">
                  <c:v>87.96736560553528</c:v>
                </c:pt>
                <c:pt idx="13">
                  <c:v>87.35140403040378</c:v>
                </c:pt>
                <c:pt idx="14">
                  <c:v>86.78317452721569</c:v>
                </c:pt>
                <c:pt idx="15">
                  <c:v>86.25796668712829</c:v>
                </c:pt>
                <c:pt idx="16">
                  <c:v>85.45352421259966</c:v>
                </c:pt>
                <c:pt idx="17">
                  <c:v>84.66673411326833</c:v>
                </c:pt>
                <c:pt idx="18">
                  <c:v>83.41282976083768</c:v>
                </c:pt>
                <c:pt idx="19">
                  <c:v>82.26519659249858</c:v>
                </c:pt>
                <c:pt idx="20">
                  <c:v>81.21361688968459</c:v>
                </c:pt>
                <c:pt idx="21">
                  <c:v>80.2486314940284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D$2:$D$23</c:f>
              <c:numCache>
                <c:formatCode>General</c:formatCode>
                <c:ptCount val="22"/>
                <c:pt idx="0">
                  <c:v>85.52778802491599</c:v>
                </c:pt>
                <c:pt idx="1">
                  <c:v>87.15433061249288</c:v>
                </c:pt>
                <c:pt idx="2">
                  <c:v>88.74754044737551</c:v>
                </c:pt>
                <c:pt idx="3">
                  <c:v>90.30909467953757</c:v>
                </c:pt>
                <c:pt idx="4">
                  <c:v>91.92445569529461</c:v>
                </c:pt>
                <c:pt idx="5">
                  <c:v>93.53922412804067</c:v>
                </c:pt>
                <c:pt idx="6">
                  <c:v>95.15426082589173</c:v>
                </c:pt>
                <c:pt idx="7">
                  <c:v>96.76969989352354</c:v>
                </c:pt>
                <c:pt idx="8">
                  <c:v>98.38517703908826</c:v>
                </c:pt>
                <c:pt idx="9">
                  <c:v>100.0</c:v>
                </c:pt>
                <c:pt idx="10">
                  <c:v>97.18882384309549</c:v>
                </c:pt>
                <c:pt idx="11">
                  <c:v>94.71426090591484</c:v>
                </c:pt>
                <c:pt idx="12">
                  <c:v>92.53898896498019</c:v>
                </c:pt>
                <c:pt idx="13">
                  <c:v>93.3138831942717</c:v>
                </c:pt>
                <c:pt idx="14">
                  <c:v>94.07721141164117</c:v>
                </c:pt>
                <c:pt idx="15">
                  <c:v>94.82885353937033</c:v>
                </c:pt>
                <c:pt idx="16">
                  <c:v>95.21560131888891</c:v>
                </c:pt>
                <c:pt idx="17">
                  <c:v>95.5613541430555</c:v>
                </c:pt>
                <c:pt idx="18">
                  <c:v>95.31426001799117</c:v>
                </c:pt>
                <c:pt idx="19">
                  <c:v>95.122110464466</c:v>
                </c:pt>
                <c:pt idx="20">
                  <c:v>94.98004328817284</c:v>
                </c:pt>
                <c:pt idx="21">
                  <c:v>94.883173481022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E$2:$E$23</c:f>
              <c:numCache>
                <c:formatCode>General</c:formatCode>
                <c:ptCount val="22"/>
                <c:pt idx="0">
                  <c:v>0.38720933912246375</c:v>
                </c:pt>
                <c:pt idx="1">
                  <c:v>0.3990164809505473</c:v>
                </c:pt>
                <c:pt idx="2">
                  <c:v>0.4103772280025217</c:v>
                </c:pt>
                <c:pt idx="3">
                  <c:v>0.4213164259987643</c:v>
                </c:pt>
                <c:pt idx="4">
                  <c:v>0.43185711040680136</c:v>
                </c:pt>
                <c:pt idx="5">
                  <c:v>0.4420206683601682</c:v>
                </c:pt>
                <c:pt idx="6">
                  <c:v>0.4518269835032231</c:v>
                </c:pt>
                <c:pt idx="7">
                  <c:v>0.46129456582613815</c:v>
                </c:pt>
                <c:pt idx="8">
                  <c:v>0.4704406682739117</c:v>
                </c:pt>
                <c:pt idx="9">
                  <c:v>0.4792813916750149</c:v>
                </c:pt>
                <c:pt idx="10">
                  <c:v>0.4878317793322396</c:v>
                </c:pt>
                <c:pt idx="11">
                  <c:v>0.4961059024448043</c:v>
                </c:pt>
                <c:pt idx="12">
                  <c:v>0.5041169373820888</c:v>
                </c:pt>
                <c:pt idx="13">
                  <c:v>0.5118772357016181</c:v>
                </c:pt>
                <c:pt idx="14">
                  <c:v>0.519398387693889</c:v>
                </c:pt>
                <c:pt idx="15">
                  <c:v>0.5266912801416297</c:v>
                </c:pt>
                <c:pt idx="16">
                  <c:v>0.5337661488988549</c:v>
                </c:pt>
                <c:pt idx="17">
                  <c:v>0.5406326268237612</c:v>
                </c:pt>
                <c:pt idx="18">
                  <c:v>0.5472997875374949</c:v>
                </c:pt>
                <c:pt idx="19">
                  <c:v>0.553776185426801</c:v>
                </c:pt>
                <c:pt idx="20">
                  <c:v>0.5600698922614018</c:v>
                </c:pt>
                <c:pt idx="21">
                  <c:v>0.56618853075568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B$2:$B$23</c:f>
              <c:numCache>
                <c:formatCode>General</c:formatCode>
                <c:ptCount val="22"/>
                <c:pt idx="0">
                  <c:v>118.49742302025695</c:v>
                </c:pt>
                <c:pt idx="1">
                  <c:v>115.74082723127268</c:v>
                </c:pt>
                <c:pt idx="2">
                  <c:v>113.1882446423425</c:v>
                </c:pt>
                <c:pt idx="3">
                  <c:v>110.81189210032692</c:v>
                </c:pt>
                <c:pt idx="4">
                  <c:v>108.67481869017148</c:v>
                </c:pt>
                <c:pt idx="5">
                  <c:v>106.68928641035409</c:v>
                </c:pt>
                <c:pt idx="6">
                  <c:v>104.84145340473259</c:v>
                </c:pt>
                <c:pt idx="7">
                  <c:v>103.11843787511637</c:v>
                </c:pt>
                <c:pt idx="8">
                  <c:v>101.50829266757289</c:v>
                </c:pt>
                <c:pt idx="9">
                  <c:v>100.0</c:v>
                </c:pt>
                <c:pt idx="10">
                  <c:v>97.42171248334783</c:v>
                </c:pt>
                <c:pt idx="11">
                  <c:v>95.01533259247927</c:v>
                </c:pt>
                <c:pt idx="12">
                  <c:v>92.76152376898736</c:v>
                </c:pt>
                <c:pt idx="13">
                  <c:v>91.67431012287676</c:v>
                </c:pt>
                <c:pt idx="14">
                  <c:v>90.61813374411945</c:v>
                </c:pt>
                <c:pt idx="15">
                  <c:v>89.59145119013266</c:v>
                </c:pt>
                <c:pt idx="16">
                  <c:v>87.5925429525927</c:v>
                </c:pt>
                <c:pt idx="17">
                  <c:v>85.65920757096387</c:v>
                </c:pt>
                <c:pt idx="18">
                  <c:v>82.0018362814347</c:v>
                </c:pt>
                <c:pt idx="19">
                  <c:v>78.62026536991638</c:v>
                </c:pt>
                <c:pt idx="20">
                  <c:v>75.49081123706587</c:v>
                </c:pt>
                <c:pt idx="21">
                  <c:v>72.592548572083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C$2:$C$23</c:f>
              <c:numCache>
                <c:formatCode>General</c:formatCode>
                <c:ptCount val="22"/>
                <c:pt idx="0">
                  <c:v>100.89890311442862</c:v>
                </c:pt>
                <c:pt idx="1">
                  <c:v>100.45998718290619</c:v>
                </c:pt>
                <c:pt idx="2">
                  <c:v>100.1109121933188</c:v>
                </c:pt>
                <c:pt idx="3">
                  <c:v>99.83664752831574</c:v>
                </c:pt>
                <c:pt idx="4">
                  <c:v>99.70512718811784</c:v>
                </c:pt>
                <c:pt idx="5">
                  <c:v>99.64465334858103</c:v>
                </c:pt>
                <c:pt idx="6">
                  <c:v>99.64953216762653</c:v>
                </c:pt>
                <c:pt idx="7">
                  <c:v>99.71409080860218</c:v>
                </c:pt>
                <c:pt idx="8">
                  <c:v>99.83273094847699</c:v>
                </c:pt>
                <c:pt idx="9">
                  <c:v>100.0</c:v>
                </c:pt>
                <c:pt idx="10">
                  <c:v>99.0277947958092</c:v>
                </c:pt>
                <c:pt idx="11">
                  <c:v>98.14844133012099</c:v>
                </c:pt>
                <c:pt idx="12">
                  <c:v>97.35009050569808</c:v>
                </c:pt>
                <c:pt idx="13">
                  <c:v>97.72200814687709</c:v>
                </c:pt>
                <c:pt idx="14">
                  <c:v>98.09149879783075</c:v>
                </c:pt>
                <c:pt idx="15">
                  <c:v>98.4584094897086</c:v>
                </c:pt>
                <c:pt idx="16">
                  <c:v>97.70589801685131</c:v>
                </c:pt>
                <c:pt idx="17">
                  <c:v>96.96189479602539</c:v>
                </c:pt>
                <c:pt idx="18">
                  <c:v>94.17517735811677</c:v>
                </c:pt>
                <c:pt idx="19">
                  <c:v>91.58964103696326</c:v>
                </c:pt>
                <c:pt idx="20">
                  <c:v>89.19082856276962</c:v>
                </c:pt>
                <c:pt idx="21">
                  <c:v>86.9660473196428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D$2:$D$23</c:f>
              <c:numCache>
                <c:formatCode>General</c:formatCode>
                <c:ptCount val="22"/>
                <c:pt idx="0">
                  <c:v>79.27617853735794</c:v>
                </c:pt>
                <c:pt idx="1">
                  <c:v>81.68909467541971</c:v>
                </c:pt>
                <c:pt idx="2">
                  <c:v>84.05052327471847</c:v>
                </c:pt>
                <c:pt idx="3">
                  <c:v>86.36133694994754</c:v>
                </c:pt>
                <c:pt idx="4">
                  <c:v>88.69247293276948</c:v>
                </c:pt>
                <c:pt idx="5">
                  <c:v>90.99558985064019</c:v>
                </c:pt>
                <c:pt idx="6">
                  <c:v>93.27511254372719</c:v>
                </c:pt>
                <c:pt idx="7">
                  <c:v>95.5343126083685</c:v>
                </c:pt>
                <c:pt idx="8">
                  <c:v>97.77546183230356</c:v>
                </c:pt>
                <c:pt idx="9">
                  <c:v>100.0</c:v>
                </c:pt>
                <c:pt idx="10">
                  <c:v>100.99886830480547</c:v>
                </c:pt>
                <c:pt idx="11">
                  <c:v>101.99302853777736</c:v>
                </c:pt>
                <c:pt idx="12">
                  <c:v>102.97991847543906</c:v>
                </c:pt>
                <c:pt idx="13">
                  <c:v>105.14402411288981</c:v>
                </c:pt>
                <c:pt idx="14">
                  <c:v>107.2647529557003</c:v>
                </c:pt>
                <c:pt idx="15">
                  <c:v>109.34365672700379</c:v>
                </c:pt>
                <c:pt idx="16">
                  <c:v>110.12041408855184</c:v>
                </c:pt>
                <c:pt idx="17">
                  <c:v>110.8350288693393</c:v>
                </c:pt>
                <c:pt idx="18">
                  <c:v>109.10542599217254</c:v>
                </c:pt>
                <c:pt idx="19">
                  <c:v>107.48548311399007</c:v>
                </c:pt>
                <c:pt idx="20">
                  <c:v>105.97217230137493</c:v>
                </c:pt>
                <c:pt idx="21">
                  <c:v>104.5629853834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E$2:$E$23</c:f>
              <c:numCache>
                <c:formatCode>General</c:formatCode>
                <c:ptCount val="22"/>
                <c:pt idx="0">
                  <c:v>0.3564530562518393</c:v>
                </c:pt>
                <c:pt idx="1">
                  <c:v>0.3688528046862935</c:v>
                </c:pt>
                <c:pt idx="2">
                  <c:v>0.38078375355800803</c:v>
                </c:pt>
                <c:pt idx="3">
                  <c:v>0.3922719956070247</c:v>
                </c:pt>
                <c:pt idx="4">
                  <c:v>0.4033417224629988</c:v>
                </c:pt>
                <c:pt idx="5">
                  <c:v>0.414015394690852</c:v>
                </c:pt>
                <c:pt idx="6">
                  <c:v>0.4243138939054239</c:v>
                </c:pt>
                <c:pt idx="7">
                  <c:v>0.434256659122947</c:v>
                </c:pt>
                <c:pt idx="8">
                  <c:v>0.44386180922272706</c:v>
                </c:pt>
                <c:pt idx="9">
                  <c:v>0.45314625314221413</c:v>
                </c:pt>
                <c:pt idx="10">
                  <c:v>0.4621257892154126</c:v>
                </c:pt>
                <c:pt idx="11">
                  <c:v>0.47081519488236867</c:v>
                </c:pt>
                <c:pt idx="12">
                  <c:v>0.4792283078413137</c:v>
                </c:pt>
                <c:pt idx="13">
                  <c:v>0.48737809958088624</c:v>
                </c:pt>
                <c:pt idx="14">
                  <c:v>0.49527674211430867</c:v>
                </c:pt>
                <c:pt idx="15">
                  <c:v>0.5029356686376119</c:v>
                </c:pt>
                <c:pt idx="16">
                  <c:v>0.5103656287476627</c:v>
                </c:pt>
                <c:pt idx="17">
                  <c:v>0.5175767387808339</c:v>
                </c:pt>
                <c:pt idx="18">
                  <c:v>0.5245785277680498</c:v>
                </c:pt>
                <c:pt idx="19">
                  <c:v>0.5313799794451878</c:v>
                </c:pt>
                <c:pt idx="20">
                  <c:v>0.5379895707083022</c:v>
                </c:pt>
                <c:pt idx="21">
                  <c:v>0.54441530685978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5.89</c:v>
                </c:pt>
                <c:pt idx="1">
                  <c:v>5.99</c:v>
                </c:pt>
                <c:pt idx="2">
                  <c:v>6.09</c:v>
                </c:pt>
                <c:pt idx="3">
                  <c:v>6.19</c:v>
                </c:pt>
                <c:pt idx="4">
                  <c:v>6.29</c:v>
                </c:pt>
                <c:pt idx="5">
                  <c:v>6.39</c:v>
                </c:pt>
                <c:pt idx="6">
                  <c:v>6.49</c:v>
                </c:pt>
                <c:pt idx="7">
                  <c:v>6.59</c:v>
                </c:pt>
                <c:pt idx="8">
                  <c:v>6.69</c:v>
                </c:pt>
                <c:pt idx="9">
                  <c:v>6.79</c:v>
                </c:pt>
                <c:pt idx="10">
                  <c:v>6.89</c:v>
                </c:pt>
                <c:pt idx="11">
                  <c:v>6.99</c:v>
                </c:pt>
                <c:pt idx="12">
                  <c:v>7.09</c:v>
                </c:pt>
                <c:pt idx="13">
                  <c:v>7.19</c:v>
                </c:pt>
                <c:pt idx="14">
                  <c:v>7.29</c:v>
                </c:pt>
                <c:pt idx="15">
                  <c:v>7.39</c:v>
                </c:pt>
                <c:pt idx="16">
                  <c:v>7.49</c:v>
                </c:pt>
                <c:pt idx="17">
                  <c:v>7.59</c:v>
                </c:pt>
                <c:pt idx="18">
                  <c:v>7.69</c:v>
                </c:pt>
                <c:pt idx="19">
                  <c:v>7.79</c:v>
                </c:pt>
                <c:pt idx="20">
                  <c:v>7.89</c:v>
                </c:pt>
                <c:pt idx="21">
                  <c:v>7.99</c:v>
                </c:pt>
                <c:pt idx="22">
                  <c:v>8.09</c:v>
                </c:pt>
                <c:pt idx="23">
                  <c:v>8.19</c:v>
                </c:pt>
                <c:pt idx="24">
                  <c:v>8.29</c:v>
                </c:pt>
                <c:pt idx="25">
                  <c:v>8.39</c:v>
                </c:pt>
              </c:strCache>
            </c:strRef>
          </c:cat>
          <c:val>
            <c:numRef>
              <c:f>Sheet1!$B$2:$B$27</c:f>
              <c:numCache>
                <c:formatCode>General</c:formatCode>
                <c:ptCount val="26"/>
                <c:pt idx="0">
                  <c:v>127.06246724723079</c:v>
                </c:pt>
                <c:pt idx="1">
                  <c:v>125.26191086074859</c:v>
                </c:pt>
                <c:pt idx="2">
                  <c:v>121.45928150740946</c:v>
                </c:pt>
                <c:pt idx="3">
                  <c:v>117.94523291871117</c:v>
                </c:pt>
                <c:pt idx="4">
                  <c:v>114.68305299903865</c:v>
                </c:pt>
                <c:pt idx="5">
                  <c:v>113.36309855557592</c:v>
                </c:pt>
                <c:pt idx="6">
                  <c:v>112.08110601917818</c:v>
                </c:pt>
                <c:pt idx="7">
                  <c:v>110.83498301377992</c:v>
                </c:pt>
                <c:pt idx="8">
                  <c:v>108.6923578856519</c:v>
                </c:pt>
                <c:pt idx="9">
                  <c:v>106.61416969174095</c:v>
                </c:pt>
                <c:pt idx="10">
                  <c:v>103.19248545532331</c:v>
                </c:pt>
                <c:pt idx="11">
                  <c:v>100.0</c:v>
                </c:pt>
                <c:pt idx="12">
                  <c:v>97.01465342398052</c:v>
                </c:pt>
                <c:pt idx="13">
                  <c:v>94.2177054404893</c:v>
                </c:pt>
                <c:pt idx="14">
                  <c:v>93.05765234192128</c:v>
                </c:pt>
                <c:pt idx="15">
                  <c:v>91.91750728905119</c:v>
                </c:pt>
                <c:pt idx="16">
                  <c:v>90.79684839903925</c:v>
                </c:pt>
                <c:pt idx="17">
                  <c:v>89.69526239565783</c:v>
                </c:pt>
                <c:pt idx="18">
                  <c:v>88.00647354596838</c:v>
                </c:pt>
                <c:pt idx="19">
                  <c:v>86.37158595706767</c:v>
                </c:pt>
                <c:pt idx="20">
                  <c:v>84.7884525891979</c:v>
                </c:pt>
                <c:pt idx="21">
                  <c:v>83.25489064417181</c:v>
                </c:pt>
                <c:pt idx="22">
                  <c:v>81.76872006684458</c:v>
                </c:pt>
                <c:pt idx="23">
                  <c:v>80.82976873702712</c:v>
                </c:pt>
                <c:pt idx="24">
                  <c:v>79.91534493426094</c:v>
                </c:pt>
                <c:pt idx="25">
                  <c:v>79.0240630227671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5.89</c:v>
                </c:pt>
                <c:pt idx="1">
                  <c:v>5.99</c:v>
                </c:pt>
                <c:pt idx="2">
                  <c:v>6.09</c:v>
                </c:pt>
                <c:pt idx="3">
                  <c:v>6.19</c:v>
                </c:pt>
                <c:pt idx="4">
                  <c:v>6.29</c:v>
                </c:pt>
                <c:pt idx="5">
                  <c:v>6.39</c:v>
                </c:pt>
                <c:pt idx="6">
                  <c:v>6.49</c:v>
                </c:pt>
                <c:pt idx="7">
                  <c:v>6.59</c:v>
                </c:pt>
                <c:pt idx="8">
                  <c:v>6.69</c:v>
                </c:pt>
                <c:pt idx="9">
                  <c:v>6.79</c:v>
                </c:pt>
                <c:pt idx="10">
                  <c:v>6.89</c:v>
                </c:pt>
                <c:pt idx="11">
                  <c:v>6.99</c:v>
                </c:pt>
                <c:pt idx="12">
                  <c:v>7.09</c:v>
                </c:pt>
                <c:pt idx="13">
                  <c:v>7.19</c:v>
                </c:pt>
                <c:pt idx="14">
                  <c:v>7.29</c:v>
                </c:pt>
                <c:pt idx="15">
                  <c:v>7.39</c:v>
                </c:pt>
                <c:pt idx="16">
                  <c:v>7.49</c:v>
                </c:pt>
                <c:pt idx="17">
                  <c:v>7.59</c:v>
                </c:pt>
                <c:pt idx="18">
                  <c:v>7.69</c:v>
                </c:pt>
                <c:pt idx="19">
                  <c:v>7.79</c:v>
                </c:pt>
                <c:pt idx="20">
                  <c:v>7.89</c:v>
                </c:pt>
                <c:pt idx="21">
                  <c:v>7.99</c:v>
                </c:pt>
                <c:pt idx="22">
                  <c:v>8.09</c:v>
                </c:pt>
                <c:pt idx="23">
                  <c:v>8.19</c:v>
                </c:pt>
                <c:pt idx="24">
                  <c:v>8.29</c:v>
                </c:pt>
                <c:pt idx="25">
                  <c:v>8.39</c:v>
                </c:pt>
              </c:strCache>
            </c:strRef>
          </c:cat>
          <c:val>
            <c:numRef>
              <c:f>Sheet1!$C$2:$C$27</c:f>
              <c:numCache>
                <c:formatCode>General</c:formatCode>
                <c:ptCount val="26"/>
                <c:pt idx="0">
                  <c:v>107.22939663985949</c:v>
                </c:pt>
                <c:pt idx="1">
                  <c:v>107.48829255296326</c:v>
                </c:pt>
                <c:pt idx="2">
                  <c:v>105.94739856600275</c:v>
                </c:pt>
                <c:pt idx="3">
                  <c:v>104.55485306392755</c:v>
                </c:pt>
                <c:pt idx="4">
                  <c:v>103.28978765134647</c:v>
                </c:pt>
                <c:pt idx="5">
                  <c:v>103.71012803427355</c:v>
                </c:pt>
                <c:pt idx="6">
                  <c:v>104.12813760437662</c:v>
                </c:pt>
                <c:pt idx="7">
                  <c:v>104.54346516285362</c:v>
                </c:pt>
                <c:pt idx="8">
                  <c:v>104.06409290187328</c:v>
                </c:pt>
                <c:pt idx="9">
                  <c:v>103.58665014158677</c:v>
                </c:pt>
                <c:pt idx="10">
                  <c:v>101.72715134907723</c:v>
                </c:pt>
                <c:pt idx="11">
                  <c:v>100.0</c:v>
                </c:pt>
                <c:pt idx="12">
                  <c:v>98.3925258004181</c:v>
                </c:pt>
                <c:pt idx="13">
                  <c:v>96.89423012549489</c:v>
                </c:pt>
                <c:pt idx="14">
                  <c:v>97.02198478206884</c:v>
                </c:pt>
                <c:pt idx="15">
                  <c:v>97.13781953366612</c:v>
                </c:pt>
                <c:pt idx="16">
                  <c:v>97.24213495052199</c:v>
                </c:pt>
                <c:pt idx="17">
                  <c:v>97.33531662055593</c:v>
                </c:pt>
                <c:pt idx="18">
                  <c:v>96.75107607895465</c:v>
                </c:pt>
                <c:pt idx="19">
                  <c:v>96.17908958082816</c:v>
                </c:pt>
                <c:pt idx="20">
                  <c:v>95.61921630945642</c:v>
                </c:pt>
                <c:pt idx="21">
                  <c:v>95.07115363028522</c:v>
                </c:pt>
                <c:pt idx="22">
                  <c:v>94.53447915045015</c:v>
                </c:pt>
                <c:pt idx="23">
                  <c:v>94.59642223235659</c:v>
                </c:pt>
                <c:pt idx="24">
                  <c:v>94.66074130738772</c:v>
                </c:pt>
                <c:pt idx="25">
                  <c:v>94.726820756403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5.89</c:v>
                </c:pt>
                <c:pt idx="1">
                  <c:v>5.99</c:v>
                </c:pt>
                <c:pt idx="2">
                  <c:v>6.09</c:v>
                </c:pt>
                <c:pt idx="3">
                  <c:v>6.19</c:v>
                </c:pt>
                <c:pt idx="4">
                  <c:v>6.29</c:v>
                </c:pt>
                <c:pt idx="5">
                  <c:v>6.39</c:v>
                </c:pt>
                <c:pt idx="6">
                  <c:v>6.49</c:v>
                </c:pt>
                <c:pt idx="7">
                  <c:v>6.59</c:v>
                </c:pt>
                <c:pt idx="8">
                  <c:v>6.69</c:v>
                </c:pt>
                <c:pt idx="9">
                  <c:v>6.79</c:v>
                </c:pt>
                <c:pt idx="10">
                  <c:v>6.89</c:v>
                </c:pt>
                <c:pt idx="11">
                  <c:v>6.99</c:v>
                </c:pt>
                <c:pt idx="12">
                  <c:v>7.09</c:v>
                </c:pt>
                <c:pt idx="13">
                  <c:v>7.19</c:v>
                </c:pt>
                <c:pt idx="14">
                  <c:v>7.29</c:v>
                </c:pt>
                <c:pt idx="15">
                  <c:v>7.39</c:v>
                </c:pt>
                <c:pt idx="16">
                  <c:v>7.49</c:v>
                </c:pt>
                <c:pt idx="17">
                  <c:v>7.59</c:v>
                </c:pt>
                <c:pt idx="18">
                  <c:v>7.69</c:v>
                </c:pt>
                <c:pt idx="19">
                  <c:v>7.79</c:v>
                </c:pt>
                <c:pt idx="20">
                  <c:v>7.89</c:v>
                </c:pt>
                <c:pt idx="21">
                  <c:v>7.99</c:v>
                </c:pt>
                <c:pt idx="22">
                  <c:v>8.09</c:v>
                </c:pt>
                <c:pt idx="23">
                  <c:v>8.19</c:v>
                </c:pt>
                <c:pt idx="24">
                  <c:v>8.29</c:v>
                </c:pt>
                <c:pt idx="25">
                  <c:v>8.39</c:v>
                </c:pt>
              </c:strCache>
            </c:strRef>
          </c:cat>
          <c:val>
            <c:numRef>
              <c:f>Sheet1!$D$2:$D$27</c:f>
              <c:numCache>
                <c:formatCode>General</c:formatCode>
                <c:ptCount val="26"/>
                <c:pt idx="0">
                  <c:v>25.426476118758412</c:v>
                </c:pt>
                <c:pt idx="1">
                  <c:v>34.1816509440253</c:v>
                </c:pt>
                <c:pt idx="2">
                  <c:v>41.97926417630742</c:v>
                </c:pt>
                <c:pt idx="3">
                  <c:v>49.34291876897068</c:v>
                </c:pt>
                <c:pt idx="4">
                  <c:v>56.317864415468165</c:v>
                </c:pt>
                <c:pt idx="5">
                  <c:v>63.91548519446222</c:v>
                </c:pt>
                <c:pt idx="6">
                  <c:v>71.34471993047504</c:v>
                </c:pt>
                <c:pt idx="7">
                  <c:v>78.61241174897089</c:v>
                </c:pt>
                <c:pt idx="8">
                  <c:v>84.99559742141271</c:v>
                </c:pt>
                <c:pt idx="9">
                  <c:v>91.12160581123514</c:v>
                </c:pt>
                <c:pt idx="10">
                  <c:v>95.69513043645618</c:v>
                </c:pt>
                <c:pt idx="11">
                  <c:v>100.0</c:v>
                </c:pt>
                <c:pt idx="12">
                  <c:v>104.06263213526724</c:v>
                </c:pt>
                <c:pt idx="13">
                  <c:v>107.90681243084303</c:v>
                </c:pt>
                <c:pt idx="14">
                  <c:v>113.34250038187979</c:v>
                </c:pt>
                <c:pt idx="15">
                  <c:v>118.63494791823932</c:v>
                </c:pt>
                <c:pt idx="16">
                  <c:v>123.78793934944756</c:v>
                </c:pt>
                <c:pt idx="17">
                  <c:v>128.80514770807278</c:v>
                </c:pt>
                <c:pt idx="18">
                  <c:v>132.774060020958</c:v>
                </c:pt>
                <c:pt idx="19">
                  <c:v>136.58251253157664</c:v>
                </c:pt>
                <c:pt idx="20">
                  <c:v>140.2387355457343</c:v>
                </c:pt>
                <c:pt idx="21">
                  <c:v>143.75026993345784</c:v>
                </c:pt>
                <c:pt idx="22">
                  <c:v>147.12402384498597</c:v>
                </c:pt>
                <c:pt idx="23">
                  <c:v>151.30757850557893</c:v>
                </c:pt>
                <c:pt idx="24">
                  <c:v>155.4022193409087</c:v>
                </c:pt>
                <c:pt idx="25">
                  <c:v>159.4105079341454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5.89</c:v>
                </c:pt>
                <c:pt idx="1">
                  <c:v>5.99</c:v>
                </c:pt>
                <c:pt idx="2">
                  <c:v>6.09</c:v>
                </c:pt>
                <c:pt idx="3">
                  <c:v>6.19</c:v>
                </c:pt>
                <c:pt idx="4">
                  <c:v>6.29</c:v>
                </c:pt>
                <c:pt idx="5">
                  <c:v>6.39</c:v>
                </c:pt>
                <c:pt idx="6">
                  <c:v>6.49</c:v>
                </c:pt>
                <c:pt idx="7">
                  <c:v>6.59</c:v>
                </c:pt>
                <c:pt idx="8">
                  <c:v>6.69</c:v>
                </c:pt>
                <c:pt idx="9">
                  <c:v>6.79</c:v>
                </c:pt>
                <c:pt idx="10">
                  <c:v>6.89</c:v>
                </c:pt>
                <c:pt idx="11">
                  <c:v>6.99</c:v>
                </c:pt>
                <c:pt idx="12">
                  <c:v>7.09</c:v>
                </c:pt>
                <c:pt idx="13">
                  <c:v>7.19</c:v>
                </c:pt>
                <c:pt idx="14">
                  <c:v>7.29</c:v>
                </c:pt>
                <c:pt idx="15">
                  <c:v>7.39</c:v>
                </c:pt>
                <c:pt idx="16">
                  <c:v>7.49</c:v>
                </c:pt>
                <c:pt idx="17">
                  <c:v>7.59</c:v>
                </c:pt>
                <c:pt idx="18">
                  <c:v>7.69</c:v>
                </c:pt>
                <c:pt idx="19">
                  <c:v>7.79</c:v>
                </c:pt>
                <c:pt idx="20">
                  <c:v>7.89</c:v>
                </c:pt>
                <c:pt idx="21">
                  <c:v>7.99</c:v>
                </c:pt>
                <c:pt idx="22">
                  <c:v>8.09</c:v>
                </c:pt>
                <c:pt idx="23">
                  <c:v>8.19</c:v>
                </c:pt>
                <c:pt idx="24">
                  <c:v>8.29</c:v>
                </c:pt>
                <c:pt idx="25">
                  <c:v>8.39</c:v>
                </c:pt>
              </c:strCache>
            </c:strRef>
          </c:cat>
          <c:val>
            <c:numRef>
              <c:f>Sheet1!$E$2:$E$27</c:f>
              <c:numCache>
                <c:formatCode>General</c:formatCode>
                <c:ptCount val="26"/>
                <c:pt idx="0">
                  <c:v>0.04667674865763633</c:v>
                </c:pt>
                <c:pt idx="1">
                  <c:v>0.06259199492378577</c:v>
                </c:pt>
                <c:pt idx="2">
                  <c:v>0.0779845730038551</c:v>
                </c:pt>
                <c:pt idx="3">
                  <c:v>0.09287981415080396</c:v>
                </c:pt>
                <c:pt idx="4">
                  <c:v>0.10730143872710309</c:v>
                </c:pt>
                <c:pt idx="5">
                  <c:v>0.12127168225250064</c:v>
                </c:pt>
                <c:pt idx="6">
                  <c:v>0.13481140979868672</c:v>
                </c:pt>
                <c:pt idx="7">
                  <c:v>0.14794021996866122</c:v>
                </c:pt>
                <c:pt idx="8">
                  <c:v>0.16067653955059444</c:v>
                </c:pt>
                <c:pt idx="9">
                  <c:v>0.17303770980758143</c:v>
                </c:pt>
                <c:pt idx="10">
                  <c:v>0.1850400652530447</c:v>
                </c:pt>
                <c:pt idx="11">
                  <c:v>0.19669900566430287</c:v>
                </c:pt>
                <c:pt idx="12">
                  <c:v>0.20802906200190102</c:v>
                </c:pt>
                <c:pt idx="13">
                  <c:v>0.219043956828022</c:v>
                </c:pt>
                <c:pt idx="14">
                  <c:v>0.22975665975219184</c:v>
                </c:pt>
                <c:pt idx="15">
                  <c:v>0.24017943837530153</c:v>
                </c:pt>
                <c:pt idx="16">
                  <c:v>0.25032390515266734</c:v>
                </c:pt>
                <c:pt idx="17">
                  <c:v>0.2602010605525003</c:v>
                </c:pt>
                <c:pt idx="18">
                  <c:v>0.26982133284700627</c:v>
                </c:pt>
                <c:pt idx="19">
                  <c:v>0.2791946148387005</c:v>
                </c:pt>
                <c:pt idx="20">
                  <c:v>0.2883302977938502</c:v>
                </c:pt>
                <c:pt idx="21">
                  <c:v>0.29723730282771926</c:v>
                </c:pt>
                <c:pt idx="22">
                  <c:v>0.30592410996211095</c:v>
                </c:pt>
                <c:pt idx="23">
                  <c:v>0.31439878505414875</c:v>
                </c:pt>
                <c:pt idx="24">
                  <c:v>0.32266900477605276</c:v>
                </c:pt>
                <c:pt idx="25">
                  <c:v>0.330742079808519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2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4"/>
          <c:min val="0.0"/>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0</c:f>
              <c:strCache>
                <c:ptCount val="59"/>
                <c:pt idx="0">
                  <c:v>14.19</c:v>
                </c:pt>
                <c:pt idx="1">
                  <c:v>14.29</c:v>
                </c:pt>
                <c:pt idx="2">
                  <c:v>14.39</c:v>
                </c:pt>
                <c:pt idx="3">
                  <c:v>14.49</c:v>
                </c:pt>
                <c:pt idx="4">
                  <c:v>14.59</c:v>
                </c:pt>
                <c:pt idx="5">
                  <c:v>14.69</c:v>
                </c:pt>
                <c:pt idx="6">
                  <c:v>14.79</c:v>
                </c:pt>
                <c:pt idx="7">
                  <c:v>14.89</c:v>
                </c:pt>
                <c:pt idx="8">
                  <c:v>14.99</c:v>
                </c:pt>
                <c:pt idx="9">
                  <c:v>15.09</c:v>
                </c:pt>
                <c:pt idx="10">
                  <c:v>15.19</c:v>
                </c:pt>
                <c:pt idx="11">
                  <c:v>15.29</c:v>
                </c:pt>
                <c:pt idx="12">
                  <c:v>15.39</c:v>
                </c:pt>
                <c:pt idx="13">
                  <c:v>15.49</c:v>
                </c:pt>
                <c:pt idx="14">
                  <c:v>15.59</c:v>
                </c:pt>
                <c:pt idx="15">
                  <c:v>15.69</c:v>
                </c:pt>
                <c:pt idx="16">
                  <c:v>15.79</c:v>
                </c:pt>
                <c:pt idx="17">
                  <c:v>15.89</c:v>
                </c:pt>
                <c:pt idx="18">
                  <c:v>15.99</c:v>
                </c:pt>
                <c:pt idx="19">
                  <c:v>16.09</c:v>
                </c:pt>
                <c:pt idx="20">
                  <c:v>16.19</c:v>
                </c:pt>
                <c:pt idx="21">
                  <c:v>16.29</c:v>
                </c:pt>
                <c:pt idx="22">
                  <c:v>16.39</c:v>
                </c:pt>
                <c:pt idx="23">
                  <c:v>16.49</c:v>
                </c:pt>
                <c:pt idx="24">
                  <c:v>16.59</c:v>
                </c:pt>
                <c:pt idx="25">
                  <c:v>16.69</c:v>
                </c:pt>
                <c:pt idx="26">
                  <c:v>16.79</c:v>
                </c:pt>
                <c:pt idx="27">
                  <c:v>16.89</c:v>
                </c:pt>
                <c:pt idx="28">
                  <c:v>16.99</c:v>
                </c:pt>
                <c:pt idx="29">
                  <c:v>17.09</c:v>
                </c:pt>
                <c:pt idx="30">
                  <c:v>17.19</c:v>
                </c:pt>
                <c:pt idx="31">
                  <c:v>17.29</c:v>
                </c:pt>
                <c:pt idx="32">
                  <c:v>17.39</c:v>
                </c:pt>
                <c:pt idx="33">
                  <c:v>17.49</c:v>
                </c:pt>
                <c:pt idx="34">
                  <c:v>17.59</c:v>
                </c:pt>
                <c:pt idx="35">
                  <c:v>17.69</c:v>
                </c:pt>
                <c:pt idx="36">
                  <c:v>17.79</c:v>
                </c:pt>
                <c:pt idx="37">
                  <c:v>17.89</c:v>
                </c:pt>
                <c:pt idx="38">
                  <c:v>17.99</c:v>
                </c:pt>
                <c:pt idx="39">
                  <c:v>18.09</c:v>
                </c:pt>
                <c:pt idx="40">
                  <c:v>18.19</c:v>
                </c:pt>
                <c:pt idx="41">
                  <c:v>18.29</c:v>
                </c:pt>
                <c:pt idx="42">
                  <c:v>18.39</c:v>
                </c:pt>
                <c:pt idx="43">
                  <c:v>18.49</c:v>
                </c:pt>
                <c:pt idx="44">
                  <c:v>18.59</c:v>
                </c:pt>
                <c:pt idx="45">
                  <c:v>18.69</c:v>
                </c:pt>
                <c:pt idx="46">
                  <c:v>18.79</c:v>
                </c:pt>
                <c:pt idx="47">
                  <c:v>18.89</c:v>
                </c:pt>
                <c:pt idx="48">
                  <c:v>18.99</c:v>
                </c:pt>
                <c:pt idx="49">
                  <c:v>19.09</c:v>
                </c:pt>
                <c:pt idx="50">
                  <c:v>19.19</c:v>
                </c:pt>
                <c:pt idx="51">
                  <c:v>19.29</c:v>
                </c:pt>
                <c:pt idx="52">
                  <c:v>19.39</c:v>
                </c:pt>
                <c:pt idx="53">
                  <c:v>19.49</c:v>
                </c:pt>
                <c:pt idx="54">
                  <c:v>19.59</c:v>
                </c:pt>
                <c:pt idx="55">
                  <c:v>19.69</c:v>
                </c:pt>
                <c:pt idx="56">
                  <c:v>19.79</c:v>
                </c:pt>
                <c:pt idx="57">
                  <c:v>19.89</c:v>
                </c:pt>
                <c:pt idx="58">
                  <c:v>19.99</c:v>
                </c:pt>
              </c:strCache>
            </c:strRef>
          </c:cat>
          <c:val>
            <c:numRef>
              <c:f>Sheet1!$B$2:$B$60</c:f>
              <c:numCache>
                <c:formatCode>General</c:formatCode>
                <c:ptCount val="59"/>
                <c:pt idx="0">
                  <c:v>128.2457647810795</c:v>
                </c:pt>
                <c:pt idx="1">
                  <c:v>126.50731823118555</c:v>
                </c:pt>
                <c:pt idx="2">
                  <c:v>124.81908919473885</c:v>
                </c:pt>
                <c:pt idx="3">
                  <c:v>123.17894988218131</c:v>
                </c:pt>
                <c:pt idx="4">
                  <c:v>121.58487634046391</c:v>
                </c:pt>
                <c:pt idx="5">
                  <c:v>120.03494338144324</c:v>
                </c:pt>
                <c:pt idx="6">
                  <c:v>118.52731972142425</c:v>
                </c:pt>
                <c:pt idx="7">
                  <c:v>117.06026332769245</c:v>
                </c:pt>
                <c:pt idx="8">
                  <c:v>115.63211696747724</c:v>
                </c:pt>
                <c:pt idx="9">
                  <c:v>114.61209506214838</c:v>
                </c:pt>
                <c:pt idx="10">
                  <c:v>113.60580002388139</c:v>
                </c:pt>
                <c:pt idx="11">
                  <c:v>112.61298053346134</c:v>
                </c:pt>
                <c:pt idx="12">
                  <c:v>111.63339074824539</c:v>
                </c:pt>
                <c:pt idx="13">
                  <c:v>110.66679017869228</c:v>
                </c:pt>
                <c:pt idx="14">
                  <c:v>109.7129435671941</c:v>
                </c:pt>
                <c:pt idx="15">
                  <c:v>108.77162076920743</c:v>
                </c:pt>
                <c:pt idx="16">
                  <c:v>107.84259663667702</c:v>
                </c:pt>
                <c:pt idx="17">
                  <c:v>106.92565090374273</c:v>
                </c:pt>
                <c:pt idx="18">
                  <c:v>106.02056807472115</c:v>
                </c:pt>
                <c:pt idx="19">
                  <c:v>105.12713731434089</c:v>
                </c:pt>
                <c:pt idx="20">
                  <c:v>104.24515234022533</c:v>
                </c:pt>
                <c:pt idx="21">
                  <c:v>103.37441131759604</c:v>
                </c:pt>
                <c:pt idx="22">
                  <c:v>102.51471675617914</c:v>
                </c:pt>
                <c:pt idx="23">
                  <c:v>101.66587540929567</c:v>
                </c:pt>
                <c:pt idx="24">
                  <c:v>100.82769817510749</c:v>
                </c:pt>
                <c:pt idx="25">
                  <c:v>100.0</c:v>
                </c:pt>
                <c:pt idx="26">
                  <c:v>99.18259978406624</c:v>
                </c:pt>
                <c:pt idx="27">
                  <c:v>98.37532028867669</c:v>
                </c:pt>
                <c:pt idx="28">
                  <c:v>97.57798804609536</c:v>
                </c:pt>
                <c:pt idx="29">
                  <c:v>97.21622219699101</c:v>
                </c:pt>
                <c:pt idx="30">
                  <c:v>96.85653022826003</c:v>
                </c:pt>
                <c:pt idx="31">
                  <c:v>96.49889610451999</c:v>
                </c:pt>
                <c:pt idx="32">
                  <c:v>96.14330394184542</c:v>
                </c:pt>
                <c:pt idx="33">
                  <c:v>95.7897380061486</c:v>
                </c:pt>
                <c:pt idx="34">
                  <c:v>95.43818271157886</c:v>
                </c:pt>
                <c:pt idx="35">
                  <c:v>95.08862261893653</c:v>
                </c:pt>
                <c:pt idx="36">
                  <c:v>94.74104243410707</c:v>
                </c:pt>
                <c:pt idx="37">
                  <c:v>94.3954270065086</c:v>
                </c:pt>
                <c:pt idx="38">
                  <c:v>94.05176132755867</c:v>
                </c:pt>
                <c:pt idx="39">
                  <c:v>93.71003052915519</c:v>
                </c:pt>
                <c:pt idx="40">
                  <c:v>93.37021988217677</c:v>
                </c:pt>
                <c:pt idx="41">
                  <c:v>93.03231479499641</c:v>
                </c:pt>
                <c:pt idx="42">
                  <c:v>92.69630081201382</c:v>
                </c:pt>
                <c:pt idx="43">
                  <c:v>92.36216361220131</c:v>
                </c:pt>
                <c:pt idx="44">
                  <c:v>92.0298890076692</c:v>
                </c:pt>
                <c:pt idx="45">
                  <c:v>91.69946294224293</c:v>
                </c:pt>
                <c:pt idx="46">
                  <c:v>91.37087149005939</c:v>
                </c:pt>
                <c:pt idx="47">
                  <c:v>91.04410085417605</c:v>
                </c:pt>
                <c:pt idx="48">
                  <c:v>90.71913736519919</c:v>
                </c:pt>
                <c:pt idx="49">
                  <c:v>90.39596747992218</c:v>
                </c:pt>
                <c:pt idx="50">
                  <c:v>90.0745777799852</c:v>
                </c:pt>
                <c:pt idx="51">
                  <c:v>89.75495497054399</c:v>
                </c:pt>
                <c:pt idx="52">
                  <c:v>89.43708587895851</c:v>
                </c:pt>
                <c:pt idx="53">
                  <c:v>89.120957453493</c:v>
                </c:pt>
                <c:pt idx="54">
                  <c:v>88.8065567620321</c:v>
                </c:pt>
                <c:pt idx="55">
                  <c:v>88.49387099081292</c:v>
                </c:pt>
                <c:pt idx="56">
                  <c:v>88.18288744316739</c:v>
                </c:pt>
                <c:pt idx="57">
                  <c:v>87.87359353828406</c:v>
                </c:pt>
                <c:pt idx="58">
                  <c:v>87.5659768099787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0</c:f>
              <c:strCache>
                <c:ptCount val="59"/>
                <c:pt idx="0">
                  <c:v>14.19</c:v>
                </c:pt>
                <c:pt idx="1">
                  <c:v>14.29</c:v>
                </c:pt>
                <c:pt idx="2">
                  <c:v>14.39</c:v>
                </c:pt>
                <c:pt idx="3">
                  <c:v>14.49</c:v>
                </c:pt>
                <c:pt idx="4">
                  <c:v>14.59</c:v>
                </c:pt>
                <c:pt idx="5">
                  <c:v>14.69</c:v>
                </c:pt>
                <c:pt idx="6">
                  <c:v>14.79</c:v>
                </c:pt>
                <c:pt idx="7">
                  <c:v>14.89</c:v>
                </c:pt>
                <c:pt idx="8">
                  <c:v>14.99</c:v>
                </c:pt>
                <c:pt idx="9">
                  <c:v>15.09</c:v>
                </c:pt>
                <c:pt idx="10">
                  <c:v>15.19</c:v>
                </c:pt>
                <c:pt idx="11">
                  <c:v>15.29</c:v>
                </c:pt>
                <c:pt idx="12">
                  <c:v>15.39</c:v>
                </c:pt>
                <c:pt idx="13">
                  <c:v>15.49</c:v>
                </c:pt>
                <c:pt idx="14">
                  <c:v>15.59</c:v>
                </c:pt>
                <c:pt idx="15">
                  <c:v>15.69</c:v>
                </c:pt>
                <c:pt idx="16">
                  <c:v>15.79</c:v>
                </c:pt>
                <c:pt idx="17">
                  <c:v>15.89</c:v>
                </c:pt>
                <c:pt idx="18">
                  <c:v>15.99</c:v>
                </c:pt>
                <c:pt idx="19">
                  <c:v>16.09</c:v>
                </c:pt>
                <c:pt idx="20">
                  <c:v>16.19</c:v>
                </c:pt>
                <c:pt idx="21">
                  <c:v>16.29</c:v>
                </c:pt>
                <c:pt idx="22">
                  <c:v>16.39</c:v>
                </c:pt>
                <c:pt idx="23">
                  <c:v>16.49</c:v>
                </c:pt>
                <c:pt idx="24">
                  <c:v>16.59</c:v>
                </c:pt>
                <c:pt idx="25">
                  <c:v>16.69</c:v>
                </c:pt>
                <c:pt idx="26">
                  <c:v>16.79</c:v>
                </c:pt>
                <c:pt idx="27">
                  <c:v>16.89</c:v>
                </c:pt>
                <c:pt idx="28">
                  <c:v>16.99</c:v>
                </c:pt>
                <c:pt idx="29">
                  <c:v>17.09</c:v>
                </c:pt>
                <c:pt idx="30">
                  <c:v>17.19</c:v>
                </c:pt>
                <c:pt idx="31">
                  <c:v>17.29</c:v>
                </c:pt>
                <c:pt idx="32">
                  <c:v>17.39</c:v>
                </c:pt>
                <c:pt idx="33">
                  <c:v>17.49</c:v>
                </c:pt>
                <c:pt idx="34">
                  <c:v>17.59</c:v>
                </c:pt>
                <c:pt idx="35">
                  <c:v>17.69</c:v>
                </c:pt>
                <c:pt idx="36">
                  <c:v>17.79</c:v>
                </c:pt>
                <c:pt idx="37">
                  <c:v>17.89</c:v>
                </c:pt>
                <c:pt idx="38">
                  <c:v>17.99</c:v>
                </c:pt>
                <c:pt idx="39">
                  <c:v>18.09</c:v>
                </c:pt>
                <c:pt idx="40">
                  <c:v>18.19</c:v>
                </c:pt>
                <c:pt idx="41">
                  <c:v>18.29</c:v>
                </c:pt>
                <c:pt idx="42">
                  <c:v>18.39</c:v>
                </c:pt>
                <c:pt idx="43">
                  <c:v>18.49</c:v>
                </c:pt>
                <c:pt idx="44">
                  <c:v>18.59</c:v>
                </c:pt>
                <c:pt idx="45">
                  <c:v>18.69</c:v>
                </c:pt>
                <c:pt idx="46">
                  <c:v>18.79</c:v>
                </c:pt>
                <c:pt idx="47">
                  <c:v>18.89</c:v>
                </c:pt>
                <c:pt idx="48">
                  <c:v>18.99</c:v>
                </c:pt>
                <c:pt idx="49">
                  <c:v>19.09</c:v>
                </c:pt>
                <c:pt idx="50">
                  <c:v>19.19</c:v>
                </c:pt>
                <c:pt idx="51">
                  <c:v>19.29</c:v>
                </c:pt>
                <c:pt idx="52">
                  <c:v>19.39</c:v>
                </c:pt>
                <c:pt idx="53">
                  <c:v>19.49</c:v>
                </c:pt>
                <c:pt idx="54">
                  <c:v>19.59</c:v>
                </c:pt>
                <c:pt idx="55">
                  <c:v>19.69</c:v>
                </c:pt>
                <c:pt idx="56">
                  <c:v>19.79</c:v>
                </c:pt>
                <c:pt idx="57">
                  <c:v>19.89</c:v>
                </c:pt>
                <c:pt idx="58">
                  <c:v>19.99</c:v>
                </c:pt>
              </c:strCache>
            </c:strRef>
          </c:cat>
          <c:val>
            <c:numRef>
              <c:f>Sheet1!$C$2:$C$60</c:f>
              <c:numCache>
                <c:formatCode>General</c:formatCode>
                <c:ptCount val="59"/>
                <c:pt idx="0">
                  <c:v>109.07691302256997</c:v>
                </c:pt>
                <c:pt idx="1">
                  <c:v>108.35625050430875</c:v>
                </c:pt>
                <c:pt idx="2">
                  <c:v>107.65804694487609</c:v>
                </c:pt>
                <c:pt idx="3">
                  <c:v>106.98135833432525</c:v>
                </c:pt>
                <c:pt idx="4">
                  <c:v>106.32528045081698</c:v>
                </c:pt>
                <c:pt idx="5">
                  <c:v>105.68894750078783</c:v>
                </c:pt>
                <c:pt idx="6">
                  <c:v>105.07153076491971</c:v>
                </c:pt>
                <c:pt idx="7">
                  <c:v>104.47223725493579</c:v>
                </c:pt>
                <c:pt idx="8">
                  <c:v>103.89030838569937</c:v>
                </c:pt>
                <c:pt idx="9">
                  <c:v>103.65820702247778</c:v>
                </c:pt>
                <c:pt idx="10">
                  <c:v>103.42645440507299</c:v>
                </c:pt>
                <c:pt idx="11">
                  <c:v>103.19506510407899</c:v>
                </c:pt>
                <c:pt idx="12">
                  <c:v>102.9640527684118</c:v>
                </c:pt>
                <c:pt idx="13">
                  <c:v>102.73343017331705</c:v>
                </c:pt>
                <c:pt idx="14">
                  <c:v>102.50320926612562</c:v>
                </c:pt>
                <c:pt idx="15">
                  <c:v>102.27340120985215</c:v>
                </c:pt>
                <c:pt idx="16">
                  <c:v>102.04401642472496</c:v>
                </c:pt>
                <c:pt idx="17">
                  <c:v>101.8150646277342</c:v>
                </c:pt>
                <c:pt idx="18">
                  <c:v>101.58655487028713</c:v>
                </c:pt>
                <c:pt idx="19">
                  <c:v>101.35849557404227</c:v>
                </c:pt>
                <c:pt idx="20">
                  <c:v>101.13089456501388</c:v>
                </c:pt>
                <c:pt idx="21">
                  <c:v>100.90375910601112</c:v>
                </c:pt>
                <c:pt idx="22">
                  <c:v>100.67709592748935</c:v>
                </c:pt>
                <c:pt idx="23">
                  <c:v>100.45091125688568</c:v>
                </c:pt>
                <c:pt idx="24">
                  <c:v>100.22521084650076</c:v>
                </c:pt>
                <c:pt idx="25">
                  <c:v>100.0</c:v>
                </c:pt>
                <c:pt idx="26">
                  <c:v>99.77528359758489</c:v>
                </c:pt>
                <c:pt idx="27">
                  <c:v>99.5510661199079</c:v>
                </c:pt>
                <c:pt idx="28">
                  <c:v>99.3273516707772</c:v>
                </c:pt>
                <c:pt idx="29">
                  <c:v>99.53711500717723</c:v>
                </c:pt>
                <c:pt idx="30">
                  <c:v>99.74469770149051</c:v>
                </c:pt>
                <c:pt idx="31">
                  <c:v>99.95012060746411</c:v>
                </c:pt>
                <c:pt idx="32">
                  <c:v>100.15340434472205</c:v>
                </c:pt>
                <c:pt idx="33">
                  <c:v>100.35456930179447</c:v>
                </c:pt>
                <c:pt idx="34">
                  <c:v>100.5536356391042</c:v>
                </c:pt>
                <c:pt idx="35">
                  <c:v>100.75062329190756</c:v>
                </c:pt>
                <c:pt idx="36">
                  <c:v>100.94555197319421</c:v>
                </c:pt>
                <c:pt idx="37">
                  <c:v>101.13844117654205</c:v>
                </c:pt>
                <c:pt idx="38">
                  <c:v>101.32931017893294</c:v>
                </c:pt>
                <c:pt idx="39">
                  <c:v>101.51817804352407</c:v>
                </c:pt>
                <c:pt idx="40">
                  <c:v>101.70506362238274</c:v>
                </c:pt>
                <c:pt idx="41">
                  <c:v>101.88998555917752</c:v>
                </c:pt>
                <c:pt idx="42">
                  <c:v>102.07296229183368</c:v>
                </c:pt>
                <c:pt idx="43">
                  <c:v>102.25401205514632</c:v>
                </c:pt>
                <c:pt idx="44">
                  <c:v>102.43315288336055</c:v>
                </c:pt>
                <c:pt idx="45">
                  <c:v>102.61040261270881</c:v>
                </c:pt>
                <c:pt idx="46">
                  <c:v>102.78577888391622</c:v>
                </c:pt>
                <c:pt idx="47">
                  <c:v>102.95929914466609</c:v>
                </c:pt>
                <c:pt idx="48">
                  <c:v>103.13098065203445</c:v>
                </c:pt>
                <c:pt idx="49">
                  <c:v>103.30084047488339</c:v>
                </c:pt>
                <c:pt idx="50">
                  <c:v>103.4688954962269</c:v>
                </c:pt>
                <c:pt idx="51">
                  <c:v>103.6351624155571</c:v>
                </c:pt>
                <c:pt idx="52">
                  <c:v>103.79965775114104</c:v>
                </c:pt>
                <c:pt idx="53">
                  <c:v>103.96239784228278</c:v>
                </c:pt>
                <c:pt idx="54">
                  <c:v>104.12339885155333</c:v>
                </c:pt>
                <c:pt idx="55">
                  <c:v>104.28267676699174</c:v>
                </c:pt>
                <c:pt idx="56">
                  <c:v>104.44024740426924</c:v>
                </c:pt>
                <c:pt idx="57">
                  <c:v>104.59612640882933</c:v>
                </c:pt>
                <c:pt idx="58">
                  <c:v>104.750329257991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0</c:f>
              <c:strCache>
                <c:ptCount val="59"/>
                <c:pt idx="0">
                  <c:v>14.19</c:v>
                </c:pt>
                <c:pt idx="1">
                  <c:v>14.29</c:v>
                </c:pt>
                <c:pt idx="2">
                  <c:v>14.39</c:v>
                </c:pt>
                <c:pt idx="3">
                  <c:v>14.49</c:v>
                </c:pt>
                <c:pt idx="4">
                  <c:v>14.59</c:v>
                </c:pt>
                <c:pt idx="5">
                  <c:v>14.69</c:v>
                </c:pt>
                <c:pt idx="6">
                  <c:v>14.79</c:v>
                </c:pt>
                <c:pt idx="7">
                  <c:v>14.89</c:v>
                </c:pt>
                <c:pt idx="8">
                  <c:v>14.99</c:v>
                </c:pt>
                <c:pt idx="9">
                  <c:v>15.09</c:v>
                </c:pt>
                <c:pt idx="10">
                  <c:v>15.19</c:v>
                </c:pt>
                <c:pt idx="11">
                  <c:v>15.29</c:v>
                </c:pt>
                <c:pt idx="12">
                  <c:v>15.39</c:v>
                </c:pt>
                <c:pt idx="13">
                  <c:v>15.49</c:v>
                </c:pt>
                <c:pt idx="14">
                  <c:v>15.59</c:v>
                </c:pt>
                <c:pt idx="15">
                  <c:v>15.69</c:v>
                </c:pt>
                <c:pt idx="16">
                  <c:v>15.79</c:v>
                </c:pt>
                <c:pt idx="17">
                  <c:v>15.89</c:v>
                </c:pt>
                <c:pt idx="18">
                  <c:v>15.99</c:v>
                </c:pt>
                <c:pt idx="19">
                  <c:v>16.09</c:v>
                </c:pt>
                <c:pt idx="20">
                  <c:v>16.19</c:v>
                </c:pt>
                <c:pt idx="21">
                  <c:v>16.29</c:v>
                </c:pt>
                <c:pt idx="22">
                  <c:v>16.39</c:v>
                </c:pt>
                <c:pt idx="23">
                  <c:v>16.49</c:v>
                </c:pt>
                <c:pt idx="24">
                  <c:v>16.59</c:v>
                </c:pt>
                <c:pt idx="25">
                  <c:v>16.69</c:v>
                </c:pt>
                <c:pt idx="26">
                  <c:v>16.79</c:v>
                </c:pt>
                <c:pt idx="27">
                  <c:v>16.89</c:v>
                </c:pt>
                <c:pt idx="28">
                  <c:v>16.99</c:v>
                </c:pt>
                <c:pt idx="29">
                  <c:v>17.09</c:v>
                </c:pt>
                <c:pt idx="30">
                  <c:v>17.19</c:v>
                </c:pt>
                <c:pt idx="31">
                  <c:v>17.29</c:v>
                </c:pt>
                <c:pt idx="32">
                  <c:v>17.39</c:v>
                </c:pt>
                <c:pt idx="33">
                  <c:v>17.49</c:v>
                </c:pt>
                <c:pt idx="34">
                  <c:v>17.59</c:v>
                </c:pt>
                <c:pt idx="35">
                  <c:v>17.69</c:v>
                </c:pt>
                <c:pt idx="36">
                  <c:v>17.79</c:v>
                </c:pt>
                <c:pt idx="37">
                  <c:v>17.89</c:v>
                </c:pt>
                <c:pt idx="38">
                  <c:v>17.99</c:v>
                </c:pt>
                <c:pt idx="39">
                  <c:v>18.09</c:v>
                </c:pt>
                <c:pt idx="40">
                  <c:v>18.19</c:v>
                </c:pt>
                <c:pt idx="41">
                  <c:v>18.29</c:v>
                </c:pt>
                <c:pt idx="42">
                  <c:v>18.39</c:v>
                </c:pt>
                <c:pt idx="43">
                  <c:v>18.49</c:v>
                </c:pt>
                <c:pt idx="44">
                  <c:v>18.59</c:v>
                </c:pt>
                <c:pt idx="45">
                  <c:v>18.69</c:v>
                </c:pt>
                <c:pt idx="46">
                  <c:v>18.79</c:v>
                </c:pt>
                <c:pt idx="47">
                  <c:v>18.89</c:v>
                </c:pt>
                <c:pt idx="48">
                  <c:v>18.99</c:v>
                </c:pt>
                <c:pt idx="49">
                  <c:v>19.09</c:v>
                </c:pt>
                <c:pt idx="50">
                  <c:v>19.19</c:v>
                </c:pt>
                <c:pt idx="51">
                  <c:v>19.29</c:v>
                </c:pt>
                <c:pt idx="52">
                  <c:v>19.39</c:v>
                </c:pt>
                <c:pt idx="53">
                  <c:v>19.49</c:v>
                </c:pt>
                <c:pt idx="54">
                  <c:v>19.59</c:v>
                </c:pt>
                <c:pt idx="55">
                  <c:v>19.69</c:v>
                </c:pt>
                <c:pt idx="56">
                  <c:v>19.79</c:v>
                </c:pt>
                <c:pt idx="57">
                  <c:v>19.89</c:v>
                </c:pt>
                <c:pt idx="58">
                  <c:v>19.99</c:v>
                </c:pt>
              </c:strCache>
            </c:strRef>
          </c:cat>
          <c:val>
            <c:numRef>
              <c:f>Sheet1!$D$2:$D$60</c:f>
              <c:numCache>
                <c:formatCode>General</c:formatCode>
                <c:ptCount val="59"/>
                <c:pt idx="0">
                  <c:v>60.41035742854195</c:v>
                </c:pt>
                <c:pt idx="1">
                  <c:v>62.26863818286073</c:v>
                </c:pt>
                <c:pt idx="2">
                  <c:v>64.07900497209285</c:v>
                </c:pt>
                <c:pt idx="3">
                  <c:v>65.84351856739332</c:v>
                </c:pt>
                <c:pt idx="4">
                  <c:v>67.5641164499539</c:v>
                </c:pt>
                <c:pt idx="5">
                  <c:v>69.24262095415725</c:v>
                </c:pt>
                <c:pt idx="6">
                  <c:v>70.8807468851314</c:v>
                </c:pt>
                <c:pt idx="7">
                  <c:v>72.48010864018775</c:v>
                </c:pt>
                <c:pt idx="8">
                  <c:v>74.04222686258957</c:v>
                </c:pt>
                <c:pt idx="9">
                  <c:v>75.81447123815607</c:v>
                </c:pt>
                <c:pt idx="10">
                  <c:v>77.55284545108722</c:v>
                </c:pt>
                <c:pt idx="11">
                  <c:v>79.25804743548146</c:v>
                </c:pt>
                <c:pt idx="12">
                  <c:v>80.93075768043437</c:v>
                </c:pt>
                <c:pt idx="13">
                  <c:v>82.57163972351069</c:v>
                </c:pt>
                <c:pt idx="14">
                  <c:v>84.18134063003367</c:v>
                </c:pt>
                <c:pt idx="15">
                  <c:v>85.76049145853963</c:v>
                </c:pt>
                <c:pt idx="16">
                  <c:v>87.30970771274595</c:v>
                </c:pt>
                <c:pt idx="17">
                  <c:v>88.82958978037576</c:v>
                </c:pt>
                <c:pt idx="18">
                  <c:v>90.3207233591806</c:v>
                </c:pt>
                <c:pt idx="19">
                  <c:v>91.78367987049087</c:v>
                </c:pt>
                <c:pt idx="20">
                  <c:v>93.21901686063174</c:v>
                </c:pt>
                <c:pt idx="21">
                  <c:v>94.62727839052157</c:v>
                </c:pt>
                <c:pt idx="22">
                  <c:v>96.00899541377709</c:v>
                </c:pt>
                <c:pt idx="23">
                  <c:v>97.36468614363876</c:v>
                </c:pt>
                <c:pt idx="24">
                  <c:v>98.69485640902138</c:v>
                </c:pt>
                <c:pt idx="25">
                  <c:v>100.0</c:v>
                </c:pt>
                <c:pt idx="26">
                  <c:v>101.28059900301692</c:v>
                </c:pt>
                <c:pt idx="27">
                  <c:v>102.53712412611198</c:v>
                </c:pt>
                <c:pt idx="28">
                  <c:v>103.77003501445223</c:v>
                </c:pt>
                <c:pt idx="29">
                  <c:v>105.44249360831756</c:v>
                </c:pt>
                <c:pt idx="30">
                  <c:v>107.10191431023705</c:v>
                </c:pt>
                <c:pt idx="31">
                  <c:v>108.74841109969489</c:v>
                </c:pt>
                <c:pt idx="32">
                  <c:v>110.38209676605908</c:v>
                </c:pt>
                <c:pt idx="33">
                  <c:v>112.00308292283108</c:v>
                </c:pt>
                <c:pt idx="34">
                  <c:v>113.61148002170864</c:v>
                </c:pt>
                <c:pt idx="35">
                  <c:v>115.20739736646257</c:v>
                </c:pt>
                <c:pt idx="36">
                  <c:v>116.7909431266329</c:v>
                </c:pt>
                <c:pt idx="37">
                  <c:v>118.36222435104303</c:v>
                </c:pt>
                <c:pt idx="38">
                  <c:v>119.92134698113854</c:v>
                </c:pt>
                <c:pt idx="39">
                  <c:v>121.468415864147</c:v>
                </c:pt>
                <c:pt idx="40">
                  <c:v>123.00353476606962</c:v>
                </c:pt>
                <c:pt idx="41">
                  <c:v>124.52680638449732</c:v>
                </c:pt>
                <c:pt idx="42">
                  <c:v>126.03833236126279</c:v>
                </c:pt>
                <c:pt idx="43">
                  <c:v>127.5382132949221</c:v>
                </c:pt>
                <c:pt idx="44">
                  <c:v>129.0265487530779</c:v>
                </c:pt>
                <c:pt idx="45">
                  <c:v>130.50343728453487</c:v>
                </c:pt>
                <c:pt idx="46">
                  <c:v>131.96897643130097</c:v>
                </c:pt>
                <c:pt idx="47">
                  <c:v>133.42326274042713</c:v>
                </c:pt>
                <c:pt idx="48">
                  <c:v>134.86639177569793</c:v>
                </c:pt>
                <c:pt idx="49">
                  <c:v>136.29845812916037</c:v>
                </c:pt>
                <c:pt idx="50">
                  <c:v>137.71955543251102</c:v>
                </c:pt>
                <c:pt idx="51">
                  <c:v>139.129776368328</c:v>
                </c:pt>
                <c:pt idx="52">
                  <c:v>140.52921268115944</c:v>
                </c:pt>
                <c:pt idx="53">
                  <c:v>141.91795518846575</c:v>
                </c:pt>
                <c:pt idx="54">
                  <c:v>143.296093791419</c:v>
                </c:pt>
                <c:pt idx="55">
                  <c:v>144.66371748556554</c:v>
                </c:pt>
                <c:pt idx="56">
                  <c:v>146.0209143713418</c:v>
                </c:pt>
                <c:pt idx="57">
                  <c:v>147.3677716644628</c:v>
                </c:pt>
                <c:pt idx="58">
                  <c:v>148.7043757061666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0</c:f>
              <c:strCache>
                <c:ptCount val="59"/>
                <c:pt idx="0">
                  <c:v>14.19</c:v>
                </c:pt>
                <c:pt idx="1">
                  <c:v>14.29</c:v>
                </c:pt>
                <c:pt idx="2">
                  <c:v>14.39</c:v>
                </c:pt>
                <c:pt idx="3">
                  <c:v>14.49</c:v>
                </c:pt>
                <c:pt idx="4">
                  <c:v>14.59</c:v>
                </c:pt>
                <c:pt idx="5">
                  <c:v>14.69</c:v>
                </c:pt>
                <c:pt idx="6">
                  <c:v>14.79</c:v>
                </c:pt>
                <c:pt idx="7">
                  <c:v>14.89</c:v>
                </c:pt>
                <c:pt idx="8">
                  <c:v>14.99</c:v>
                </c:pt>
                <c:pt idx="9">
                  <c:v>15.09</c:v>
                </c:pt>
                <c:pt idx="10">
                  <c:v>15.19</c:v>
                </c:pt>
                <c:pt idx="11">
                  <c:v>15.29</c:v>
                </c:pt>
                <c:pt idx="12">
                  <c:v>15.39</c:v>
                </c:pt>
                <c:pt idx="13">
                  <c:v>15.49</c:v>
                </c:pt>
                <c:pt idx="14">
                  <c:v>15.59</c:v>
                </c:pt>
                <c:pt idx="15">
                  <c:v>15.69</c:v>
                </c:pt>
                <c:pt idx="16">
                  <c:v>15.79</c:v>
                </c:pt>
                <c:pt idx="17">
                  <c:v>15.89</c:v>
                </c:pt>
                <c:pt idx="18">
                  <c:v>15.99</c:v>
                </c:pt>
                <c:pt idx="19">
                  <c:v>16.09</c:v>
                </c:pt>
                <c:pt idx="20">
                  <c:v>16.19</c:v>
                </c:pt>
                <c:pt idx="21">
                  <c:v>16.29</c:v>
                </c:pt>
                <c:pt idx="22">
                  <c:v>16.39</c:v>
                </c:pt>
                <c:pt idx="23">
                  <c:v>16.49</c:v>
                </c:pt>
                <c:pt idx="24">
                  <c:v>16.59</c:v>
                </c:pt>
                <c:pt idx="25">
                  <c:v>16.69</c:v>
                </c:pt>
                <c:pt idx="26">
                  <c:v>16.79</c:v>
                </c:pt>
                <c:pt idx="27">
                  <c:v>16.89</c:v>
                </c:pt>
                <c:pt idx="28">
                  <c:v>16.99</c:v>
                </c:pt>
                <c:pt idx="29">
                  <c:v>17.09</c:v>
                </c:pt>
                <c:pt idx="30">
                  <c:v>17.19</c:v>
                </c:pt>
                <c:pt idx="31">
                  <c:v>17.29</c:v>
                </c:pt>
                <c:pt idx="32">
                  <c:v>17.39</c:v>
                </c:pt>
                <c:pt idx="33">
                  <c:v>17.49</c:v>
                </c:pt>
                <c:pt idx="34">
                  <c:v>17.59</c:v>
                </c:pt>
                <c:pt idx="35">
                  <c:v>17.69</c:v>
                </c:pt>
                <c:pt idx="36">
                  <c:v>17.79</c:v>
                </c:pt>
                <c:pt idx="37">
                  <c:v>17.89</c:v>
                </c:pt>
                <c:pt idx="38">
                  <c:v>17.99</c:v>
                </c:pt>
                <c:pt idx="39">
                  <c:v>18.09</c:v>
                </c:pt>
                <c:pt idx="40">
                  <c:v>18.19</c:v>
                </c:pt>
                <c:pt idx="41">
                  <c:v>18.29</c:v>
                </c:pt>
                <c:pt idx="42">
                  <c:v>18.39</c:v>
                </c:pt>
                <c:pt idx="43">
                  <c:v>18.49</c:v>
                </c:pt>
                <c:pt idx="44">
                  <c:v>18.59</c:v>
                </c:pt>
                <c:pt idx="45">
                  <c:v>18.69</c:v>
                </c:pt>
                <c:pt idx="46">
                  <c:v>18.79</c:v>
                </c:pt>
                <c:pt idx="47">
                  <c:v>18.89</c:v>
                </c:pt>
                <c:pt idx="48">
                  <c:v>18.99</c:v>
                </c:pt>
                <c:pt idx="49">
                  <c:v>19.09</c:v>
                </c:pt>
                <c:pt idx="50">
                  <c:v>19.19</c:v>
                </c:pt>
                <c:pt idx="51">
                  <c:v>19.29</c:v>
                </c:pt>
                <c:pt idx="52">
                  <c:v>19.39</c:v>
                </c:pt>
                <c:pt idx="53">
                  <c:v>19.49</c:v>
                </c:pt>
                <c:pt idx="54">
                  <c:v>19.59</c:v>
                </c:pt>
                <c:pt idx="55">
                  <c:v>19.69</c:v>
                </c:pt>
                <c:pt idx="56">
                  <c:v>19.79</c:v>
                </c:pt>
                <c:pt idx="57">
                  <c:v>19.89</c:v>
                </c:pt>
                <c:pt idx="58">
                  <c:v>19.99</c:v>
                </c:pt>
              </c:strCache>
            </c:strRef>
          </c:cat>
          <c:val>
            <c:numRef>
              <c:f>Sheet1!$E$2:$E$60</c:f>
              <c:numCache>
                <c:formatCode>General</c:formatCode>
                <c:ptCount val="59"/>
                <c:pt idx="0">
                  <c:v>0.1567355984868375</c:v>
                </c:pt>
                <c:pt idx="1">
                  <c:v>0.1626366789732837</c:v>
                </c:pt>
                <c:pt idx="2">
                  <c:v>0.16845574305269118</c:v>
                </c:pt>
                <c:pt idx="3">
                  <c:v>0.17419448878731716</c:v>
                </c:pt>
                <c:pt idx="4">
                  <c:v>0.1798545676852793</c:v>
                </c:pt>
                <c:pt idx="5">
                  <c:v>0.18543758628510712</c:v>
                </c:pt>
                <c:pt idx="6">
                  <c:v>0.19094510767601236</c:v>
                </c:pt>
                <c:pt idx="7">
                  <c:v>0.19637865295689877</c:v>
                </c:pt>
                <c:pt idx="8">
                  <c:v>0.20173970263697302</c:v>
                </c:pt>
                <c:pt idx="9">
                  <c:v>0.20702969798066415</c:v>
                </c:pt>
                <c:pt idx="10">
                  <c:v>0.21225004229942243</c:v>
                </c:pt>
                <c:pt idx="11">
                  <c:v>0.21740210219282027</c:v>
                </c:pt>
                <c:pt idx="12">
                  <c:v>0.22248720874127503</c:v>
                </c:pt>
                <c:pt idx="13">
                  <c:v>0.22750665865256442</c:v>
                </c:pt>
                <c:pt idx="14">
                  <c:v>0.23246171536422217</c:v>
                </c:pt>
                <c:pt idx="15">
                  <c:v>0.2373536101037747</c:v>
                </c:pt>
                <c:pt idx="16">
                  <c:v>0.24218354290869074</c:v>
                </c:pt>
                <c:pt idx="17">
                  <c:v>0.24695268360781783</c:v>
                </c:pt>
                <c:pt idx="18">
                  <c:v>0.25166217276599284</c:v>
                </c:pt>
                <c:pt idx="19">
                  <c:v>0.25631312259342587</c:v>
                </c:pt>
                <c:pt idx="20">
                  <c:v>0.26090661782138524</c:v>
                </c:pt>
                <c:pt idx="21">
                  <c:v>0.26544371654562465</c:v>
                </c:pt>
                <c:pt idx="22">
                  <c:v>0.26992545103893967</c:v>
                </c:pt>
                <c:pt idx="23">
                  <c:v>0.2743528285341554</c:v>
                </c:pt>
                <c:pt idx="24">
                  <c:v>0.2787268319787957</c:v>
                </c:pt>
                <c:pt idx="25">
                  <c:v>0.2830484207626257</c:v>
                </c:pt>
                <c:pt idx="26">
                  <c:v>0.28731853141919145</c:v>
                </c:pt>
                <c:pt idx="27">
                  <c:v>0.29153807830244083</c:v>
                </c:pt>
                <c:pt idx="28">
                  <c:v>0.29570795423944823</c:v>
                </c:pt>
                <c:pt idx="29">
                  <c:v>0.2998290311602235</c:v>
                </c:pt>
                <c:pt idx="30">
                  <c:v>0.30390216070553955</c:v>
                </c:pt>
                <c:pt idx="31">
                  <c:v>0.3079281748136627</c:v>
                </c:pt>
                <c:pt idx="32">
                  <c:v>0.3119078862868445</c:v>
                </c:pt>
                <c:pt idx="33">
                  <c:v>0.31584208933837754</c:v>
                </c:pt>
                <c:pt idx="34">
                  <c:v>0.31973156012099047</c:v>
                </c:pt>
                <c:pt idx="35">
                  <c:v>0.3235770572373219</c:v>
                </c:pt>
                <c:pt idx="36">
                  <c:v>0.32737932223317734</c:v>
                </c:pt>
                <c:pt idx="37">
                  <c:v>0.331139080074244</c:v>
                </c:pt>
                <c:pt idx="38">
                  <c:v>0.33485703960690527</c:v>
                </c:pt>
                <c:pt idx="39">
                  <c:v>0.3385338940037713</c:v>
                </c:pt>
                <c:pt idx="40">
                  <c:v>0.3421703211945148</c:v>
                </c:pt>
                <c:pt idx="41">
                  <c:v>0.34576698428257097</c:v>
                </c:pt>
                <c:pt idx="42">
                  <c:v>0.34932453194824487</c:v>
                </c:pt>
                <c:pt idx="43">
                  <c:v>0.3528435988387357</c:v>
                </c:pt>
                <c:pt idx="44">
                  <c:v>0.3563248059455742</c:v>
                </c:pt>
                <c:pt idx="45">
                  <c:v>0.3597687609699425</c:v>
                </c:pt>
                <c:pt idx="46">
                  <c:v>0.3631760586763292</c:v>
                </c:pt>
                <c:pt idx="47">
                  <c:v>0.3665472812349509</c:v>
                </c:pt>
                <c:pt idx="48">
                  <c:v>0.3698829985533557</c:v>
                </c:pt>
                <c:pt idx="49">
                  <c:v>0.3731837685976022</c:v>
                </c:pt>
                <c:pt idx="50">
                  <c:v>0.3764501377033987</c:v>
                </c:pt>
                <c:pt idx="51">
                  <c:v>0.37968264087756476</c:v>
                </c:pt>
                <c:pt idx="52">
                  <c:v>0.38288180209016104</c:v>
                </c:pt>
                <c:pt idx="53">
                  <c:v>0.3860481345576308</c:v>
                </c:pt>
                <c:pt idx="54">
                  <c:v>0.3891821410172652</c:v>
                </c:pt>
                <c:pt idx="55">
                  <c:v>0.39228431399330754</c:v>
                </c:pt>
                <c:pt idx="56">
                  <c:v>0.3953551360549885</c:v>
                </c:pt>
                <c:pt idx="57">
                  <c:v>0.3983950800667783</c:v>
                </c:pt>
                <c:pt idx="58">
                  <c:v>0.40140460943112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B$2:$B$23</c:f>
              <c:numCache>
                <c:formatCode>General</c:formatCode>
                <c:ptCount val="22"/>
                <c:pt idx="0">
                  <c:v>136.13877279168636</c:v>
                </c:pt>
                <c:pt idx="1">
                  <c:v>130.02957269038808</c:v>
                </c:pt>
                <c:pt idx="2">
                  <c:v>124.52077936583335</c:v>
                </c:pt>
                <c:pt idx="3">
                  <c:v>119.52919920235796</c:v>
                </c:pt>
                <c:pt idx="4">
                  <c:v>115.4299802121111</c:v>
                </c:pt>
                <c:pt idx="5">
                  <c:v>111.73077441328947</c:v>
                </c:pt>
                <c:pt idx="6">
                  <c:v>108.38008117280597</c:v>
                </c:pt>
                <c:pt idx="7">
                  <c:v>105.33307059734038</c:v>
                </c:pt>
                <c:pt idx="8">
                  <c:v>102.55089378772423</c:v>
                </c:pt>
                <c:pt idx="9">
                  <c:v>100.0</c:v>
                </c:pt>
                <c:pt idx="10">
                  <c:v>94.48646136656086</c:v>
                </c:pt>
                <c:pt idx="11">
                  <c:v>89.63607886122898</c:v>
                </c:pt>
                <c:pt idx="12">
                  <c:v>85.33506676454948</c:v>
                </c:pt>
                <c:pt idx="13">
                  <c:v>83.11831126360758</c:v>
                </c:pt>
                <c:pt idx="14">
                  <c:v>81.02162175374401</c:v>
                </c:pt>
                <c:pt idx="15">
                  <c:v>79.03465558390945</c:v>
                </c:pt>
                <c:pt idx="16">
                  <c:v>76.64015922812926</c:v>
                </c:pt>
                <c:pt idx="17">
                  <c:v>74.35671547667538</c:v>
                </c:pt>
                <c:pt idx="18">
                  <c:v>71.47649286999935</c:v>
                </c:pt>
                <c:pt idx="19">
                  <c:v>68.84122484338832</c:v>
                </c:pt>
                <c:pt idx="20">
                  <c:v>66.42166988380696</c:v>
                </c:pt>
                <c:pt idx="21">
                  <c:v>64.192674643337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C$2:$C$23</c:f>
              <c:numCache>
                <c:formatCode>General</c:formatCode>
                <c:ptCount val="22"/>
                <c:pt idx="0">
                  <c:v>115.69630942542844</c:v>
                </c:pt>
                <c:pt idx="1">
                  <c:v>112.67357878633722</c:v>
                </c:pt>
                <c:pt idx="2">
                  <c:v>109.97735721440061</c:v>
                </c:pt>
                <c:pt idx="3">
                  <c:v>107.56281430940926</c:v>
                </c:pt>
                <c:pt idx="4">
                  <c:v>105.79997539047162</c:v>
                </c:pt>
                <c:pt idx="5">
                  <c:v>104.27366239703757</c:v>
                </c:pt>
                <c:pt idx="6">
                  <c:v>102.95497268429628</c:v>
                </c:pt>
                <c:pt idx="7">
                  <c:v>101.81801540832738</c:v>
                </c:pt>
                <c:pt idx="8">
                  <c:v>100.83978957483149</c:v>
                </c:pt>
                <c:pt idx="9">
                  <c:v>100.0</c:v>
                </c:pt>
                <c:pt idx="10">
                  <c:v>96.06287747961237</c:v>
                </c:pt>
                <c:pt idx="11">
                  <c:v>92.62708394485098</c:v>
                </c:pt>
                <c:pt idx="12">
                  <c:v>89.60632616816781</c:v>
                </c:pt>
                <c:pt idx="13">
                  <c:v>88.66542701469814</c:v>
                </c:pt>
                <c:pt idx="14">
                  <c:v>87.78064433859055</c:v>
                </c:pt>
                <c:pt idx="15">
                  <c:v>86.94660903897979</c:v>
                </c:pt>
                <c:pt idx="16">
                  <c:v>85.59103991942919</c:v>
                </c:pt>
                <c:pt idx="17">
                  <c:v>84.28146548913642</c:v>
                </c:pt>
                <c:pt idx="18">
                  <c:v>82.20940584067603</c:v>
                </c:pt>
                <c:pt idx="19">
                  <c:v>80.32707200402209</c:v>
                </c:pt>
                <c:pt idx="20">
                  <c:v>78.6121135954908</c:v>
                </c:pt>
                <c:pt idx="21">
                  <c:v>77.045136069648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D$2:$D$23</c:f>
              <c:numCache>
                <c:formatCode>General</c:formatCode>
                <c:ptCount val="22"/>
                <c:pt idx="0">
                  <c:v>100.23929092806509</c:v>
                </c:pt>
                <c:pt idx="1">
                  <c:v>99.55122882111245</c:v>
                </c:pt>
                <c:pt idx="2">
                  <c:v>98.982360387872</c:v>
                </c:pt>
                <c:pt idx="3">
                  <c:v>98.51690846557428</c:v>
                </c:pt>
                <c:pt idx="4">
                  <c:v>98.52033880781595</c:v>
                </c:pt>
                <c:pt idx="5">
                  <c:v>98.63665261358464</c:v>
                </c:pt>
                <c:pt idx="6">
                  <c:v>98.85404376465267</c:v>
                </c:pt>
                <c:pt idx="7">
                  <c:v>99.16094932708504</c:v>
                </c:pt>
                <c:pt idx="8">
                  <c:v>99.54635729175878</c:v>
                </c:pt>
                <c:pt idx="9">
                  <c:v>100.0</c:v>
                </c:pt>
                <c:pt idx="10">
                  <c:v>97.25579865997953</c:v>
                </c:pt>
                <c:pt idx="11">
                  <c:v>94.89032701490339</c:v>
                </c:pt>
                <c:pt idx="12">
                  <c:v>92.8381363866008</c:v>
                </c:pt>
                <c:pt idx="13">
                  <c:v>92.86178563432873</c:v>
                </c:pt>
                <c:pt idx="14">
                  <c:v>92.89319608902349</c:v>
                </c:pt>
                <c:pt idx="15">
                  <c:v>92.93076039747751</c:v>
                </c:pt>
                <c:pt idx="16">
                  <c:v>92.36102928938018</c:v>
                </c:pt>
                <c:pt idx="17">
                  <c:v>91.78805745711497</c:v>
                </c:pt>
                <c:pt idx="18">
                  <c:v>90.32740971690278</c:v>
                </c:pt>
                <c:pt idx="19">
                  <c:v>89.01463177714297</c:v>
                </c:pt>
                <c:pt idx="20">
                  <c:v>87.83260271936635</c:v>
                </c:pt>
                <c:pt idx="21">
                  <c:v>86.76629742661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E$2:$E$23</c:f>
              <c:numCache>
                <c:formatCode>General</c:formatCode>
                <c:ptCount val="22"/>
                <c:pt idx="0">
                  <c:v>0.4939585365909283</c:v>
                </c:pt>
                <c:pt idx="1">
                  <c:v>0.5037088538049761</c:v>
                </c:pt>
                <c:pt idx="2">
                  <c:v>0.5130905389882467</c:v>
                </c:pt>
                <c:pt idx="3">
                  <c:v>0.5221241096934741</c:v>
                </c:pt>
                <c:pt idx="4">
                  <c:v>0.5308285885697314</c:v>
                </c:pt>
                <c:pt idx="5">
                  <c:v>0.5392216370747452</c:v>
                </c:pt>
                <c:pt idx="6">
                  <c:v>0.5473196750874914</c:v>
                </c:pt>
                <c:pt idx="7">
                  <c:v>0.5551379881257039</c:v>
                </c:pt>
                <c:pt idx="8">
                  <c:v>0.5626908236413967</c:v>
                </c:pt>
                <c:pt idx="9">
                  <c:v>0.5699914776707555</c:v>
                </c:pt>
                <c:pt idx="10">
                  <c:v>0.5770523729470977</c:v>
                </c:pt>
                <c:pt idx="11">
                  <c:v>0.5838851294422981</c:v>
                </c:pt>
                <c:pt idx="12">
                  <c:v>0.5905006281793045</c:v>
                </c:pt>
                <c:pt idx="13">
                  <c:v>0.5969090690528679</c:v>
                </c:pt>
                <c:pt idx="14">
                  <c:v>0.6031200233047497</c:v>
                </c:pt>
                <c:pt idx="15">
                  <c:v>0.6091424812212178</c:v>
                </c:pt>
                <c:pt idx="16">
                  <c:v>0.6149848955527392</c:v>
                </c:pt>
                <c:pt idx="17">
                  <c:v>0.6206552210968814</c:v>
                </c:pt>
                <c:pt idx="18">
                  <c:v>0.6261609508342272</c:v>
                </c:pt>
                <c:pt idx="19">
                  <c:v>0.6315091489624929</c:v>
                </c:pt>
                <c:pt idx="20">
                  <c:v>0.6367064811350952</c:v>
                </c:pt>
                <c:pt idx="21">
                  <c:v>0.641759242176331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B$2:$B$23</c:f>
              <c:numCache>
                <c:formatCode>General</c:formatCode>
                <c:ptCount val="22"/>
                <c:pt idx="0">
                  <c:v>137.46298689638786</c:v>
                </c:pt>
                <c:pt idx="1">
                  <c:v>131.2964868090568</c:v>
                </c:pt>
                <c:pt idx="2">
                  <c:v>125.70475978451312</c:v>
                </c:pt>
                <c:pt idx="3">
                  <c:v>120.61706170152888</c:v>
                </c:pt>
                <c:pt idx="4">
                  <c:v>116.32511521537326</c:v>
                </c:pt>
                <c:pt idx="5">
                  <c:v>112.42998762201654</c:v>
                </c:pt>
                <c:pt idx="6">
                  <c:v>108.88751116142426</c:v>
                </c:pt>
                <c:pt idx="7">
                  <c:v>105.6580270154565</c:v>
                </c:pt>
                <c:pt idx="8">
                  <c:v>102.70606074620565</c:v>
                </c:pt>
                <c:pt idx="9">
                  <c:v>100.0</c:v>
                </c:pt>
                <c:pt idx="10">
                  <c:v>93.20515362707104</c:v>
                </c:pt>
                <c:pt idx="11">
                  <c:v>87.29718620661559</c:v>
                </c:pt>
                <c:pt idx="12">
                  <c:v>82.128647301641</c:v>
                </c:pt>
                <c:pt idx="13">
                  <c:v>79.72122361730857</c:v>
                </c:pt>
                <c:pt idx="14">
                  <c:v>77.462480544712</c:v>
                </c:pt>
                <c:pt idx="15">
                  <c:v>75.33835590775409</c:v>
                </c:pt>
                <c:pt idx="16">
                  <c:v>73.04616614213516</c:v>
                </c:pt>
                <c:pt idx="17">
                  <c:v>70.85847804757567</c:v>
                </c:pt>
                <c:pt idx="18">
                  <c:v>68.53941961413209</c:v>
                </c:pt>
                <c:pt idx="19">
                  <c:v>66.3999738607924</c:v>
                </c:pt>
                <c:pt idx="20">
                  <c:v>64.42024719168089</c:v>
                </c:pt>
                <c:pt idx="21">
                  <c:v>62.5828853248688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C$2:$C$23</c:f>
              <c:numCache>
                <c:formatCode>General</c:formatCode>
                <c:ptCount val="22"/>
                <c:pt idx="0">
                  <c:v>116.90586112795249</c:v>
                </c:pt>
                <c:pt idx="1">
                  <c:v>113.84042849168378</c:v>
                </c:pt>
                <c:pt idx="2">
                  <c:v>111.07879845556474</c:v>
                </c:pt>
                <c:pt idx="3">
                  <c:v>108.5857578998884</c:v>
                </c:pt>
                <c:pt idx="4">
                  <c:v>106.65534958235645</c:v>
                </c:pt>
                <c:pt idx="5">
                  <c:v>104.95291222229378</c:v>
                </c:pt>
                <c:pt idx="6">
                  <c:v>103.45621196212149</c:v>
                </c:pt>
                <c:pt idx="7">
                  <c:v>102.14444932622013</c:v>
                </c:pt>
                <c:pt idx="8">
                  <c:v>100.99831232900091</c:v>
                </c:pt>
                <c:pt idx="9">
                  <c:v>100.0</c:v>
                </c:pt>
                <c:pt idx="10">
                  <c:v>94.7539859555026</c:v>
                </c:pt>
                <c:pt idx="11">
                  <c:v>90.19892431122489</c:v>
                </c:pt>
                <c:pt idx="12">
                  <c:v>86.22408530753226</c:v>
                </c:pt>
                <c:pt idx="13">
                  <c:v>85.02239471625683</c:v>
                </c:pt>
                <c:pt idx="14">
                  <c:v>83.9017591656688</c:v>
                </c:pt>
                <c:pt idx="15">
                  <c:v>82.8541160558107</c:v>
                </c:pt>
                <c:pt idx="16">
                  <c:v>81.54773855242533</c:v>
                </c:pt>
                <c:pt idx="17">
                  <c:v>80.28365977235975</c:v>
                </c:pt>
                <c:pt idx="18">
                  <c:v>78.79646786983857</c:v>
                </c:pt>
                <c:pt idx="19">
                  <c:v>77.44166335956639</c:v>
                </c:pt>
                <c:pt idx="20">
                  <c:v>76.20466238705195</c:v>
                </c:pt>
                <c:pt idx="21">
                  <c:v>75.0726066271042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D$2:$D$23</c:f>
              <c:numCache>
                <c:formatCode>General</c:formatCode>
                <c:ptCount val="22"/>
                <c:pt idx="0">
                  <c:v>101.1092524354317</c:v>
                </c:pt>
                <c:pt idx="1">
                  <c:v>100.43190292690531</c:v>
                </c:pt>
                <c:pt idx="2">
                  <c:v>99.84876033319416</c:v>
                </c:pt>
                <c:pt idx="3">
                  <c:v>99.35221373970323</c:v>
                </c:pt>
                <c:pt idx="4">
                  <c:v>99.2347124927931</c:v>
                </c:pt>
                <c:pt idx="5">
                  <c:v>99.21529545659516</c:v>
                </c:pt>
                <c:pt idx="6">
                  <c:v>99.28864548240904</c:v>
                </c:pt>
                <c:pt idx="7">
                  <c:v>99.44850189475191</c:v>
                </c:pt>
                <c:pt idx="8">
                  <c:v>99.6880073852896</c:v>
                </c:pt>
                <c:pt idx="9">
                  <c:v>100.0</c:v>
                </c:pt>
                <c:pt idx="10">
                  <c:v>95.94388554699258</c:v>
                </c:pt>
                <c:pt idx="11">
                  <c:v>92.42770264917152</c:v>
                </c:pt>
                <c:pt idx="12">
                  <c:v>89.36909217236334</c:v>
                </c:pt>
                <c:pt idx="13">
                  <c:v>89.09225285696064</c:v>
                </c:pt>
                <c:pt idx="14">
                  <c:v>88.84448872499054</c:v>
                </c:pt>
                <c:pt idx="15">
                  <c:v>88.62235901438508</c:v>
                </c:pt>
                <c:pt idx="16">
                  <c:v>88.07326174856162</c:v>
                </c:pt>
                <c:pt idx="17">
                  <c:v>87.51848984901368</c:v>
                </c:pt>
                <c:pt idx="18">
                  <c:v>86.6690480142627</c:v>
                </c:pt>
                <c:pt idx="19">
                  <c:v>85.91565876354646</c:v>
                </c:pt>
                <c:pt idx="20">
                  <c:v>85.24783817273902</c:v>
                </c:pt>
                <c:pt idx="21">
                  <c:v>84.6561977098143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E$2:$E$23</c:f>
              <c:numCache>
                <c:formatCode>General</c:formatCode>
                <c:ptCount val="22"/>
                <c:pt idx="0">
                  <c:v>0.49165849686365987</c:v>
                </c:pt>
                <c:pt idx="1">
                  <c:v>0.5014531308354586</c:v>
                </c:pt>
                <c:pt idx="2">
                  <c:v>0.5108774572846934</c:v>
                </c:pt>
                <c:pt idx="3">
                  <c:v>0.5199520870196714</c:v>
                </c:pt>
                <c:pt idx="4">
                  <c:v>0.5286961291504606</c:v>
                </c:pt>
                <c:pt idx="5">
                  <c:v>0.5371273254089497</c:v>
                </c:pt>
                <c:pt idx="6">
                  <c:v>0.5452621703051017</c:v>
                </c:pt>
                <c:pt idx="7">
                  <c:v>0.553116018831784</c:v>
                </c:pt>
                <c:pt idx="8">
                  <c:v>0.5607031831979676</c:v>
                </c:pt>
                <c:pt idx="9">
                  <c:v>0.568037019872459</c:v>
                </c:pt>
                <c:pt idx="10">
                  <c:v>0.5751300080518931</c:v>
                </c:pt>
                <c:pt idx="11">
                  <c:v>0.5819938205227833</c:v>
                </c:pt>
                <c:pt idx="12">
                  <c:v>0.5886393877640745</c:v>
                </c:pt>
                <c:pt idx="13">
                  <c:v>0.5950769560306776</c:v>
                </c:pt>
                <c:pt idx="14">
                  <c:v>0.6013161400671848</c:v>
                </c:pt>
                <c:pt idx="15">
                  <c:v>0.6073659710221592</c:v>
                </c:pt>
                <c:pt idx="16">
                  <c:v>0.6132349400651763</c:v>
                </c:pt>
                <c:pt idx="17">
                  <c:v>0.6189310381496361</c:v>
                </c:pt>
                <c:pt idx="18">
                  <c:v>0.6244617923129215</c:v>
                </c:pt>
                <c:pt idx="19">
                  <c:v>0.6298342988606621</c:v>
                </c:pt>
                <c:pt idx="20">
                  <c:v>0.6350552537427404</c:v>
                </c:pt>
                <c:pt idx="21">
                  <c:v>0.64013098039444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aclan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Carrefour (16.6%)</c:v>
                </c:pt>
                <c:pt idx="2">
                  <c:v>Jan Niezbedny (20.2%)</c:v>
                </c:pt>
                <c:pt idx="3">
                  <c:v>Stella (16.1%)</c:v>
                </c:pt>
                <c:pt idx="4">
                  <c:v>Anna Zaradna (3.2%)</c:v>
                </c:pt>
                <c:pt idx="5">
                  <c:v>Grosik (1.1%)</c:v>
                </c:pt>
                <c:pt idx="6">
                  <c:v>Vi Go! (2.2%)</c:v>
                </c:pt>
                <c:pt idx="7">
                  <c:v>Ravi (1.1%)</c:v>
                </c:pt>
              </c:strCache>
            </c:strRef>
          </c:cat>
          <c:val>
            <c:numRef>
              <c:f>Sheet1!$B$2:$B$9</c:f>
              <c:numCache>
                <c:formatCode>General</c:formatCode>
                <c:ptCount val="8"/>
                <c:pt idx="0">
                  <c:v>0.2954784685113574</c:v>
                </c:pt>
                <c:pt idx="1">
                  <c:v>0.26111224356537627</c:v>
                </c:pt>
                <c:pt idx="2">
                  <c:v>0.1762863065822153</c:v>
                </c:pt>
                <c:pt idx="3">
                  <c:v>0.17341480697923217</c:v>
                </c:pt>
                <c:pt idx="4">
                  <c:v>0.044530496471942974</c:v>
                </c:pt>
                <c:pt idx="5">
                  <c:v>0.020545850385743802</c:v>
                </c:pt>
                <c:pt idx="6">
                  <c:v>0.015721163069490295</c:v>
                </c:pt>
                <c:pt idx="7">
                  <c:v>0.0129106644345757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B$2:$B$23</c:f>
              <c:numCache>
                <c:formatCode>General</c:formatCode>
                <c:ptCount val="22"/>
                <c:pt idx="0">
                  <c:v>128.50008533838246</c:v>
                </c:pt>
                <c:pt idx="1">
                  <c:v>123.1311548549332</c:v>
                </c:pt>
                <c:pt idx="2">
                  <c:v>118.34820762619407</c:v>
                </c:pt>
                <c:pt idx="3">
                  <c:v>114.06004115508696</c:v>
                </c:pt>
                <c:pt idx="4">
                  <c:v>111.17976509119194</c:v>
                </c:pt>
                <c:pt idx="5">
                  <c:v>108.55133433654795</c:v>
                </c:pt>
                <c:pt idx="6">
                  <c:v>106.14439351967606</c:v>
                </c:pt>
                <c:pt idx="7">
                  <c:v>103.932071283046</c:v>
                </c:pt>
                <c:pt idx="8">
                  <c:v>101.8907903513789</c:v>
                </c:pt>
                <c:pt idx="9">
                  <c:v>100.0</c:v>
                </c:pt>
                <c:pt idx="10">
                  <c:v>97.18981945740435</c:v>
                </c:pt>
                <c:pt idx="11">
                  <c:v>94.59938998671026</c:v>
                </c:pt>
                <c:pt idx="12">
                  <c:v>92.19731499814026</c:v>
                </c:pt>
                <c:pt idx="13">
                  <c:v>90.69192423286773</c:v>
                </c:pt>
                <c:pt idx="14">
                  <c:v>89.24453839531219</c:v>
                </c:pt>
                <c:pt idx="15">
                  <c:v>87.85122468454335</c:v>
                </c:pt>
                <c:pt idx="16">
                  <c:v>85.31245344465323</c:v>
                </c:pt>
                <c:pt idx="17">
                  <c:v>82.8887547646503</c:v>
                </c:pt>
                <c:pt idx="18">
                  <c:v>79.23480532511465</c:v>
                </c:pt>
                <c:pt idx="19">
                  <c:v>75.94228018936981</c:v>
                </c:pt>
                <c:pt idx="20">
                  <c:v>72.96533389730429</c:v>
                </c:pt>
                <c:pt idx="21">
                  <c:v>70.264507222437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C$2:$C$23</c:f>
              <c:numCache>
                <c:formatCode>General</c:formatCode>
                <c:ptCount val="22"/>
                <c:pt idx="0">
                  <c:v>109.32828806750283</c:v>
                </c:pt>
                <c:pt idx="1">
                  <c:v>106.79779796112012</c:v>
                </c:pt>
                <c:pt idx="2">
                  <c:v>104.60862272574</c:v>
                </c:pt>
                <c:pt idx="3">
                  <c:v>102.70744828217421</c:v>
                </c:pt>
                <c:pt idx="4">
                  <c:v>101.95755371150301</c:v>
                </c:pt>
                <c:pt idx="5">
                  <c:v>101.34757243395786</c:v>
                </c:pt>
                <c:pt idx="6">
                  <c:v>100.86111364068844</c:v>
                </c:pt>
                <c:pt idx="7">
                  <c:v>100.48315537444277</c:v>
                </c:pt>
                <c:pt idx="8">
                  <c:v>100.20014443820938</c:v>
                </c:pt>
                <c:pt idx="9">
                  <c:v>100.0</c:v>
                </c:pt>
                <c:pt idx="10">
                  <c:v>98.80148819448328</c:v>
                </c:pt>
                <c:pt idx="11">
                  <c:v>97.73710162740127</c:v>
                </c:pt>
                <c:pt idx="12">
                  <c:v>96.78474425090148</c:v>
                </c:pt>
                <c:pt idx="13">
                  <c:v>96.70945389534457</c:v>
                </c:pt>
                <c:pt idx="14">
                  <c:v>96.64703178131249</c:v>
                </c:pt>
                <c:pt idx="15">
                  <c:v>96.5960367722682</c:v>
                </c:pt>
                <c:pt idx="16">
                  <c:v>95.21987526220359</c:v>
                </c:pt>
                <c:pt idx="17">
                  <c:v>93.89001956600784</c:v>
                </c:pt>
                <c:pt idx="18">
                  <c:v>91.06643244503134</c:v>
                </c:pt>
                <c:pt idx="19">
                  <c:v>88.54322488749648</c:v>
                </c:pt>
                <c:pt idx="20">
                  <c:v>86.28410266384022</c:v>
                </c:pt>
                <c:pt idx="21">
                  <c:v>84.2574052307552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D$2:$D$23</c:f>
              <c:numCache>
                <c:formatCode>General</c:formatCode>
                <c:ptCount val="22"/>
                <c:pt idx="0">
                  <c:v>95.18738857422716</c:v>
                </c:pt>
                <c:pt idx="1">
                  <c:v>94.75408092949323</c:v>
                </c:pt>
                <c:pt idx="2">
                  <c:v>94.4800769127093</c:v>
                </c:pt>
                <c:pt idx="3">
                  <c:v>94.3403979816403</c:v>
                </c:pt>
                <c:pt idx="4">
                  <c:v>95.16130097609376</c:v>
                </c:pt>
                <c:pt idx="5">
                  <c:v>96.03923361736328</c:v>
                </c:pt>
                <c:pt idx="6">
                  <c:v>96.96820187931311</c:v>
                </c:pt>
                <c:pt idx="7">
                  <c:v>97.94200012661821</c:v>
                </c:pt>
                <c:pt idx="8">
                  <c:v>98.95452855202765</c:v>
                </c:pt>
                <c:pt idx="9">
                  <c:v>100.0</c:v>
                </c:pt>
                <c:pt idx="10">
                  <c:v>99.9881649774348</c:v>
                </c:pt>
                <c:pt idx="11">
                  <c:v>100.04712048594762</c:v>
                </c:pt>
                <c:pt idx="12">
                  <c:v>100.16168352881579</c:v>
                </c:pt>
                <c:pt idx="13">
                  <c:v>101.13970703498407</c:v>
                </c:pt>
                <c:pt idx="14">
                  <c:v>102.09729849890039</c:v>
                </c:pt>
                <c:pt idx="15">
                  <c:v>103.03486170158087</c:v>
                </c:pt>
                <c:pt idx="16">
                  <c:v>102.51325037802508</c:v>
                </c:pt>
                <c:pt idx="17">
                  <c:v>101.98705839058427</c:v>
                </c:pt>
                <c:pt idx="18">
                  <c:v>99.76930345461854</c:v>
                </c:pt>
                <c:pt idx="19">
                  <c:v>97.80735538268219</c:v>
                </c:pt>
                <c:pt idx="20">
                  <c:v>96.07192509025667</c:v>
                </c:pt>
                <c:pt idx="21">
                  <c:v>94.5370655300903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5.09</c:v>
                </c:pt>
                <c:pt idx="1">
                  <c:v>5.19</c:v>
                </c:pt>
                <c:pt idx="2">
                  <c:v>5.29</c:v>
                </c:pt>
                <c:pt idx="3">
                  <c:v>5.39</c:v>
                </c:pt>
                <c:pt idx="4">
                  <c:v>5.49</c:v>
                </c:pt>
                <c:pt idx="5">
                  <c:v>5.59</c:v>
                </c:pt>
                <c:pt idx="6">
                  <c:v>5.69</c:v>
                </c:pt>
                <c:pt idx="7">
                  <c:v>5.79</c:v>
                </c:pt>
                <c:pt idx="8">
                  <c:v>5.89</c:v>
                </c:pt>
                <c:pt idx="9">
                  <c:v>5.99</c:v>
                </c:pt>
                <c:pt idx="10">
                  <c:v>6.09</c:v>
                </c:pt>
                <c:pt idx="11">
                  <c:v>6.19</c:v>
                </c:pt>
                <c:pt idx="12">
                  <c:v>6.29</c:v>
                </c:pt>
                <c:pt idx="13">
                  <c:v>6.39</c:v>
                </c:pt>
                <c:pt idx="14">
                  <c:v>6.49</c:v>
                </c:pt>
                <c:pt idx="15">
                  <c:v>6.59</c:v>
                </c:pt>
                <c:pt idx="16">
                  <c:v>6.69</c:v>
                </c:pt>
                <c:pt idx="17">
                  <c:v>6.79</c:v>
                </c:pt>
                <c:pt idx="18">
                  <c:v>6.89</c:v>
                </c:pt>
                <c:pt idx="19">
                  <c:v>6.99</c:v>
                </c:pt>
                <c:pt idx="20">
                  <c:v>7.09</c:v>
                </c:pt>
                <c:pt idx="21">
                  <c:v>7.19</c:v>
                </c:pt>
              </c:strCache>
            </c:strRef>
          </c:cat>
          <c:val>
            <c:numRef>
              <c:f>Sheet1!$E$2:$E$23</c:f>
              <c:numCache>
                <c:formatCode>General</c:formatCode>
                <c:ptCount val="22"/>
                <c:pt idx="0">
                  <c:v>0.5038903079399605</c:v>
                </c:pt>
                <c:pt idx="1">
                  <c:v>0.5134492615442001</c:v>
                </c:pt>
                <c:pt idx="2">
                  <c:v>0.5226468180367483</c:v>
                </c:pt>
                <c:pt idx="3">
                  <c:v>0.5315030922846751</c:v>
                </c:pt>
                <c:pt idx="4">
                  <c:v>0.5400367335909649</c:v>
                </c:pt>
                <c:pt idx="5">
                  <c:v>0.5482650567825398</c:v>
                </c:pt>
                <c:pt idx="6">
                  <c:v>0.5562041594752899</c:v>
                </c:pt>
                <c:pt idx="7">
                  <c:v>0.563869027187288</c:v>
                </c:pt>
                <c:pt idx="8">
                  <c:v>0.5712736277443801</c:v>
                </c:pt>
                <c:pt idx="9">
                  <c:v>0.5784309962294488</c:v>
                </c:pt>
                <c:pt idx="10">
                  <c:v>0.5853533115622986</c:v>
                </c:pt>
                <c:pt idx="11">
                  <c:v>0.5920519656566072</c:v>
                </c:pt>
                <c:pt idx="12">
                  <c:v>0.5985376259800316</c:v>
                </c:pt>
                <c:pt idx="13">
                  <c:v>0.6048202922401249</c:v>
                </c:pt>
                <c:pt idx="14">
                  <c:v>0.6109093478296453</c:v>
                </c:pt>
                <c:pt idx="15">
                  <c:v>0.6168136065879208</c:v>
                </c:pt>
                <c:pt idx="16">
                  <c:v>0.6225413553683704</c:v>
                </c:pt>
                <c:pt idx="17">
                  <c:v>0.628100392844536</c:v>
                </c:pt>
                <c:pt idx="18">
                  <c:v>0.6334980649367776</c:v>
                </c:pt>
                <c:pt idx="19">
                  <c:v>0.6387412971980542</c:v>
                </c:pt>
                <c:pt idx="20">
                  <c:v>0.6438366244590124</c:v>
                </c:pt>
                <c:pt idx="21">
                  <c:v>0.648790217999221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7.29</c:v>
                </c:pt>
                <c:pt idx="1">
                  <c:v>7.39</c:v>
                </c:pt>
                <c:pt idx="2">
                  <c:v>7.49</c:v>
                </c:pt>
                <c:pt idx="3">
                  <c:v>7.59</c:v>
                </c:pt>
                <c:pt idx="4">
                  <c:v>7.69</c:v>
                </c:pt>
                <c:pt idx="5">
                  <c:v>7.79</c:v>
                </c:pt>
                <c:pt idx="6">
                  <c:v>7.89</c:v>
                </c:pt>
                <c:pt idx="7">
                  <c:v>7.99</c:v>
                </c:pt>
                <c:pt idx="8">
                  <c:v>8.09</c:v>
                </c:pt>
                <c:pt idx="9">
                  <c:v>8.19</c:v>
                </c:pt>
                <c:pt idx="10">
                  <c:v>8.29</c:v>
                </c:pt>
                <c:pt idx="11">
                  <c:v>8.39</c:v>
                </c:pt>
                <c:pt idx="12">
                  <c:v>8.49</c:v>
                </c:pt>
                <c:pt idx="13">
                  <c:v>8.59</c:v>
                </c:pt>
                <c:pt idx="14">
                  <c:v>8.69</c:v>
                </c:pt>
                <c:pt idx="15">
                  <c:v>8.79</c:v>
                </c:pt>
                <c:pt idx="16">
                  <c:v>8.89</c:v>
                </c:pt>
                <c:pt idx="17">
                  <c:v>8.99</c:v>
                </c:pt>
                <c:pt idx="18">
                  <c:v>9.09</c:v>
                </c:pt>
                <c:pt idx="19">
                  <c:v>9.19</c:v>
                </c:pt>
                <c:pt idx="20">
                  <c:v>9.29</c:v>
                </c:pt>
                <c:pt idx="21">
                  <c:v>9.39</c:v>
                </c:pt>
                <c:pt idx="22">
                  <c:v>9.49</c:v>
                </c:pt>
                <c:pt idx="23">
                  <c:v>9.59</c:v>
                </c:pt>
                <c:pt idx="24">
                  <c:v>9.69</c:v>
                </c:pt>
                <c:pt idx="25">
                  <c:v>9.79</c:v>
                </c:pt>
                <c:pt idx="26">
                  <c:v>9.89</c:v>
                </c:pt>
                <c:pt idx="27">
                  <c:v>9.99</c:v>
                </c:pt>
                <c:pt idx="28">
                  <c:v>10.09</c:v>
                </c:pt>
                <c:pt idx="29">
                  <c:v>10.19</c:v>
                </c:pt>
                <c:pt idx="30">
                  <c:v>10.29</c:v>
                </c:pt>
              </c:strCache>
            </c:strRef>
          </c:cat>
          <c:val>
            <c:numRef>
              <c:f>Sheet1!$B$2:$B$32</c:f>
              <c:numCache>
                <c:formatCode>General</c:formatCode>
                <c:ptCount val="31"/>
                <c:pt idx="0">
                  <c:v>124.53399520526128</c:v>
                </c:pt>
                <c:pt idx="1">
                  <c:v>123.40890390536148</c:v>
                </c:pt>
                <c:pt idx="2">
                  <c:v>122.30285978649526</c:v>
                </c:pt>
                <c:pt idx="3">
                  <c:v>121.21535924124063</c:v>
                </c:pt>
                <c:pt idx="4">
                  <c:v>118.68717402935607</c:v>
                </c:pt>
                <c:pt idx="5">
                  <c:v>116.2673500015722</c:v>
                </c:pt>
                <c:pt idx="6">
                  <c:v>113.94881788827772</c:v>
                </c:pt>
                <c:pt idx="7">
                  <c:v>111.72504840092353</c:v>
                </c:pt>
                <c:pt idx="8">
                  <c:v>109.59001288114243</c:v>
                </c:pt>
                <c:pt idx="9">
                  <c:v>108.22706800580765</c:v>
                </c:pt>
                <c:pt idx="10">
                  <c:v>106.90768201182391</c:v>
                </c:pt>
                <c:pt idx="11">
                  <c:v>105.62910634378275</c:v>
                </c:pt>
                <c:pt idx="12">
                  <c:v>104.38885210513544</c:v>
                </c:pt>
                <c:pt idx="13">
                  <c:v>100.0</c:v>
                </c:pt>
                <c:pt idx="14">
                  <c:v>96.1461229761659</c:v>
                </c:pt>
                <c:pt idx="15">
                  <c:v>92.73198526089902</c:v>
                </c:pt>
                <c:pt idx="16">
                  <c:v>89.68073481933006</c:v>
                </c:pt>
                <c:pt idx="17">
                  <c:v>86.93079552945161</c:v>
                </c:pt>
                <c:pt idx="18">
                  <c:v>85.23098009784155</c:v>
                </c:pt>
                <c:pt idx="19">
                  <c:v>83.58634304129492</c:v>
                </c:pt>
                <c:pt idx="20">
                  <c:v>81.99453848891261</c:v>
                </c:pt>
                <c:pt idx="21">
                  <c:v>80.45333146584622</c:v>
                </c:pt>
                <c:pt idx="22">
                  <c:v>78.96059399226779</c:v>
                </c:pt>
                <c:pt idx="23">
                  <c:v>77.51430088994627</c:v>
                </c:pt>
                <c:pt idx="24">
                  <c:v>76.4215834996392</c:v>
                </c:pt>
                <c:pt idx="25">
                  <c:v>75.35927169668328</c:v>
                </c:pt>
                <c:pt idx="26">
                  <c:v>74.3258171927508</c:v>
                </c:pt>
                <c:pt idx="27">
                  <c:v>73.3197734820785</c:v>
                </c:pt>
                <c:pt idx="28">
                  <c:v>72.5641563400081</c:v>
                </c:pt>
                <c:pt idx="29">
                  <c:v>71.8254599177818</c:v>
                </c:pt>
                <c:pt idx="30">
                  <c:v>71.103008343340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7.29</c:v>
                </c:pt>
                <c:pt idx="1">
                  <c:v>7.39</c:v>
                </c:pt>
                <c:pt idx="2">
                  <c:v>7.49</c:v>
                </c:pt>
                <c:pt idx="3">
                  <c:v>7.59</c:v>
                </c:pt>
                <c:pt idx="4">
                  <c:v>7.69</c:v>
                </c:pt>
                <c:pt idx="5">
                  <c:v>7.79</c:v>
                </c:pt>
                <c:pt idx="6">
                  <c:v>7.89</c:v>
                </c:pt>
                <c:pt idx="7">
                  <c:v>7.99</c:v>
                </c:pt>
                <c:pt idx="8">
                  <c:v>8.09</c:v>
                </c:pt>
                <c:pt idx="9">
                  <c:v>8.19</c:v>
                </c:pt>
                <c:pt idx="10">
                  <c:v>8.29</c:v>
                </c:pt>
                <c:pt idx="11">
                  <c:v>8.39</c:v>
                </c:pt>
                <c:pt idx="12">
                  <c:v>8.49</c:v>
                </c:pt>
                <c:pt idx="13">
                  <c:v>8.59</c:v>
                </c:pt>
                <c:pt idx="14">
                  <c:v>8.69</c:v>
                </c:pt>
                <c:pt idx="15">
                  <c:v>8.79</c:v>
                </c:pt>
                <c:pt idx="16">
                  <c:v>8.89</c:v>
                </c:pt>
                <c:pt idx="17">
                  <c:v>8.99</c:v>
                </c:pt>
                <c:pt idx="18">
                  <c:v>9.09</c:v>
                </c:pt>
                <c:pt idx="19">
                  <c:v>9.19</c:v>
                </c:pt>
                <c:pt idx="20">
                  <c:v>9.29</c:v>
                </c:pt>
                <c:pt idx="21">
                  <c:v>9.39</c:v>
                </c:pt>
                <c:pt idx="22">
                  <c:v>9.49</c:v>
                </c:pt>
                <c:pt idx="23">
                  <c:v>9.59</c:v>
                </c:pt>
                <c:pt idx="24">
                  <c:v>9.69</c:v>
                </c:pt>
                <c:pt idx="25">
                  <c:v>9.79</c:v>
                </c:pt>
                <c:pt idx="26">
                  <c:v>9.89</c:v>
                </c:pt>
                <c:pt idx="27">
                  <c:v>9.99</c:v>
                </c:pt>
                <c:pt idx="28">
                  <c:v>10.09</c:v>
                </c:pt>
                <c:pt idx="29">
                  <c:v>10.19</c:v>
                </c:pt>
                <c:pt idx="30">
                  <c:v>10.29</c:v>
                </c:pt>
              </c:strCache>
            </c:strRef>
          </c:cat>
          <c:val>
            <c:numRef>
              <c:f>Sheet1!$C$2:$C$32</c:f>
              <c:numCache>
                <c:formatCode>General</c:formatCode>
                <c:ptCount val="31"/>
                <c:pt idx="0">
                  <c:v>105.86969088742826</c:v>
                </c:pt>
                <c:pt idx="1">
                  <c:v>106.33536102936918</c:v>
                </c:pt>
                <c:pt idx="2">
                  <c:v>106.79158309276787</c:v>
                </c:pt>
                <c:pt idx="3">
                  <c:v>107.2385783915162</c:v>
                </c:pt>
                <c:pt idx="4">
                  <c:v>106.36845777338051</c:v>
                </c:pt>
                <c:pt idx="5">
                  <c:v>105.53878702620123</c:v>
                </c:pt>
                <c:pt idx="6">
                  <c:v>104.74676981526953</c:v>
                </c:pt>
                <c:pt idx="7">
                  <c:v>103.98979213763255</c:v>
                </c:pt>
                <c:pt idx="8">
                  <c:v>103.26541563989228</c:v>
                </c:pt>
                <c:pt idx="9">
                  <c:v>103.22877024372539</c:v>
                </c:pt>
                <c:pt idx="10">
                  <c:v>103.20273234937527</c:v>
                </c:pt>
                <c:pt idx="11">
                  <c:v>103.18612217807008</c:v>
                </c:pt>
                <c:pt idx="12">
                  <c:v>103.17789026492316</c:v>
                </c:pt>
                <c:pt idx="13">
                  <c:v>100.0</c:v>
                </c:pt>
                <c:pt idx="14">
                  <c:v>97.26114776157661</c:v>
                </c:pt>
                <c:pt idx="15">
                  <c:v>94.88259238832453</c:v>
                </c:pt>
                <c:pt idx="16">
                  <c:v>92.80017488284453</c:v>
                </c:pt>
                <c:pt idx="17">
                  <c:v>90.96213906243649</c:v>
                </c:pt>
                <c:pt idx="18">
                  <c:v>90.16874946536879</c:v>
                </c:pt>
                <c:pt idx="19">
                  <c:v>89.39518512280078</c:v>
                </c:pt>
                <c:pt idx="20">
                  <c:v>88.64081308074752</c:v>
                </c:pt>
                <c:pt idx="21">
                  <c:v>87.90501399406408</c:v>
                </c:pt>
                <c:pt idx="22">
                  <c:v>87.1871841480132</c:v>
                </c:pt>
                <c:pt idx="23">
                  <c:v>86.48673688994096</c:v>
                </c:pt>
                <c:pt idx="24">
                  <c:v>86.1501378296942</c:v>
                </c:pt>
                <c:pt idx="25">
                  <c:v>85.82298466706757</c:v>
                </c:pt>
                <c:pt idx="26">
                  <c:v>85.50454562724484</c:v>
                </c:pt>
                <c:pt idx="27">
                  <c:v>85.19413606218322</c:v>
                </c:pt>
                <c:pt idx="28">
                  <c:v>85.15447334063602</c:v>
                </c:pt>
                <c:pt idx="29">
                  <c:v>85.11739768095894</c:v>
                </c:pt>
                <c:pt idx="30">
                  <c:v>85.082686979734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7.29</c:v>
                </c:pt>
                <c:pt idx="1">
                  <c:v>7.39</c:v>
                </c:pt>
                <c:pt idx="2">
                  <c:v>7.49</c:v>
                </c:pt>
                <c:pt idx="3">
                  <c:v>7.59</c:v>
                </c:pt>
                <c:pt idx="4">
                  <c:v>7.69</c:v>
                </c:pt>
                <c:pt idx="5">
                  <c:v>7.79</c:v>
                </c:pt>
                <c:pt idx="6">
                  <c:v>7.89</c:v>
                </c:pt>
                <c:pt idx="7">
                  <c:v>7.99</c:v>
                </c:pt>
                <c:pt idx="8">
                  <c:v>8.09</c:v>
                </c:pt>
                <c:pt idx="9">
                  <c:v>8.19</c:v>
                </c:pt>
                <c:pt idx="10">
                  <c:v>8.29</c:v>
                </c:pt>
                <c:pt idx="11">
                  <c:v>8.39</c:v>
                </c:pt>
                <c:pt idx="12">
                  <c:v>8.49</c:v>
                </c:pt>
                <c:pt idx="13">
                  <c:v>8.59</c:v>
                </c:pt>
                <c:pt idx="14">
                  <c:v>8.69</c:v>
                </c:pt>
                <c:pt idx="15">
                  <c:v>8.79</c:v>
                </c:pt>
                <c:pt idx="16">
                  <c:v>8.89</c:v>
                </c:pt>
                <c:pt idx="17">
                  <c:v>8.99</c:v>
                </c:pt>
                <c:pt idx="18">
                  <c:v>9.09</c:v>
                </c:pt>
                <c:pt idx="19">
                  <c:v>9.19</c:v>
                </c:pt>
                <c:pt idx="20">
                  <c:v>9.29</c:v>
                </c:pt>
                <c:pt idx="21">
                  <c:v>9.39</c:v>
                </c:pt>
                <c:pt idx="22">
                  <c:v>9.49</c:v>
                </c:pt>
                <c:pt idx="23">
                  <c:v>9.59</c:v>
                </c:pt>
                <c:pt idx="24">
                  <c:v>9.69</c:v>
                </c:pt>
                <c:pt idx="25">
                  <c:v>9.79</c:v>
                </c:pt>
                <c:pt idx="26">
                  <c:v>9.89</c:v>
                </c:pt>
                <c:pt idx="27">
                  <c:v>9.99</c:v>
                </c:pt>
                <c:pt idx="28">
                  <c:v>10.09</c:v>
                </c:pt>
                <c:pt idx="29">
                  <c:v>10.19</c:v>
                </c:pt>
                <c:pt idx="30">
                  <c:v>10.29</c:v>
                </c:pt>
              </c:strCache>
            </c:strRef>
          </c:cat>
          <c:val>
            <c:numRef>
              <c:f>Sheet1!$D$2:$D$32</c:f>
              <c:numCache>
                <c:formatCode>General</c:formatCode>
                <c:ptCount val="31"/>
                <c:pt idx="0">
                  <c:v>68.81858121545781</c:v>
                </c:pt>
                <c:pt idx="1">
                  <c:v>72.445279081074</c:v>
                </c:pt>
                <c:pt idx="2">
                  <c:v>76.0062980734012</c:v>
                </c:pt>
                <c:pt idx="3">
                  <c:v>79.50327804092768</c:v>
                </c:pt>
                <c:pt idx="4">
                  <c:v>81.92997019104108</c:v>
                </c:pt>
                <c:pt idx="5">
                  <c:v>84.26109692765907</c:v>
                </c:pt>
                <c:pt idx="6">
                  <c:v>86.5024899663558</c:v>
                </c:pt>
                <c:pt idx="7">
                  <c:v>88.65943506954794</c:v>
                </c:pt>
                <c:pt idx="8">
                  <c:v>90.73673254960973</c:v>
                </c:pt>
                <c:pt idx="9">
                  <c:v>93.333346082365</c:v>
                </c:pt>
                <c:pt idx="10">
                  <c:v>95.87516532405078</c:v>
                </c:pt>
                <c:pt idx="11">
                  <c:v>98.36413156882408</c:v>
                </c:pt>
                <c:pt idx="12">
                  <c:v>100.80205813674313</c:v>
                </c:pt>
                <c:pt idx="13">
                  <c:v>100.0</c:v>
                </c:pt>
                <c:pt idx="14">
                  <c:v>99.45033660445267</c:v>
                </c:pt>
                <c:pt idx="15">
                  <c:v>99.10625249543098</c:v>
                </c:pt>
                <c:pt idx="16">
                  <c:v>98.92817080058478</c:v>
                </c:pt>
                <c:pt idx="17">
                  <c:v>98.8833629769656</c:v>
                </c:pt>
                <c:pt idx="18">
                  <c:v>99.8819892391317</c:v>
                </c:pt>
                <c:pt idx="19">
                  <c:v>100.83022482891404</c:v>
                </c:pt>
                <c:pt idx="20">
                  <c:v>101.73085551173102</c:v>
                </c:pt>
                <c:pt idx="21">
                  <c:v>102.58648529931742</c:v>
                </c:pt>
                <c:pt idx="22">
                  <c:v>103.39955046993607</c:v>
                </c:pt>
                <c:pt idx="23">
                  <c:v>104.17233238309606</c:v>
                </c:pt>
                <c:pt idx="24">
                  <c:v>105.33410960321676</c:v>
                </c:pt>
                <c:pt idx="25">
                  <c:v>106.46361076828373</c:v>
                </c:pt>
                <c:pt idx="26">
                  <c:v>107.56173552132992</c:v>
                </c:pt>
                <c:pt idx="27">
                  <c:v>108.62932111362686</c:v>
                </c:pt>
                <c:pt idx="28">
                  <c:v>110.006409718403</c:v>
                </c:pt>
                <c:pt idx="29">
                  <c:v>111.35773261828959</c:v>
                </c:pt>
                <c:pt idx="30">
                  <c:v>112.683965772057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7.29</c:v>
                </c:pt>
                <c:pt idx="1">
                  <c:v>7.39</c:v>
                </c:pt>
                <c:pt idx="2">
                  <c:v>7.49</c:v>
                </c:pt>
                <c:pt idx="3">
                  <c:v>7.59</c:v>
                </c:pt>
                <c:pt idx="4">
                  <c:v>7.69</c:v>
                </c:pt>
                <c:pt idx="5">
                  <c:v>7.79</c:v>
                </c:pt>
                <c:pt idx="6">
                  <c:v>7.89</c:v>
                </c:pt>
                <c:pt idx="7">
                  <c:v>7.99</c:v>
                </c:pt>
                <c:pt idx="8">
                  <c:v>8.09</c:v>
                </c:pt>
                <c:pt idx="9">
                  <c:v>8.19</c:v>
                </c:pt>
                <c:pt idx="10">
                  <c:v>8.29</c:v>
                </c:pt>
                <c:pt idx="11">
                  <c:v>8.39</c:v>
                </c:pt>
                <c:pt idx="12">
                  <c:v>8.49</c:v>
                </c:pt>
                <c:pt idx="13">
                  <c:v>8.59</c:v>
                </c:pt>
                <c:pt idx="14">
                  <c:v>8.69</c:v>
                </c:pt>
                <c:pt idx="15">
                  <c:v>8.79</c:v>
                </c:pt>
                <c:pt idx="16">
                  <c:v>8.89</c:v>
                </c:pt>
                <c:pt idx="17">
                  <c:v>8.99</c:v>
                </c:pt>
                <c:pt idx="18">
                  <c:v>9.09</c:v>
                </c:pt>
                <c:pt idx="19">
                  <c:v>9.19</c:v>
                </c:pt>
                <c:pt idx="20">
                  <c:v>9.29</c:v>
                </c:pt>
                <c:pt idx="21">
                  <c:v>9.39</c:v>
                </c:pt>
                <c:pt idx="22">
                  <c:v>9.49</c:v>
                </c:pt>
                <c:pt idx="23">
                  <c:v>9.59</c:v>
                </c:pt>
                <c:pt idx="24">
                  <c:v>9.69</c:v>
                </c:pt>
                <c:pt idx="25">
                  <c:v>9.79</c:v>
                </c:pt>
                <c:pt idx="26">
                  <c:v>9.89</c:v>
                </c:pt>
                <c:pt idx="27">
                  <c:v>9.99</c:v>
                </c:pt>
                <c:pt idx="28">
                  <c:v>10.09</c:v>
                </c:pt>
                <c:pt idx="29">
                  <c:v>10.19</c:v>
                </c:pt>
                <c:pt idx="30">
                  <c:v>10.29</c:v>
                </c:pt>
              </c:strCache>
            </c:strRef>
          </c:cat>
          <c:val>
            <c:numRef>
              <c:f>Sheet1!$E$2:$E$32</c:f>
              <c:numCache>
                <c:formatCode>General</c:formatCode>
                <c:ptCount val="31"/>
                <c:pt idx="0">
                  <c:v>0.2201667273094602</c:v>
                </c:pt>
                <c:pt idx="1">
                  <c:v>0.23071927497780298</c:v>
                </c:pt>
                <c:pt idx="2">
                  <c:v>0.2409900456723583</c:v>
                </c:pt>
                <c:pt idx="3">
                  <c:v>0.2509901768229199</c:v>
                </c:pt>
                <c:pt idx="4">
                  <c:v>0.260730226539137</c:v>
                </c:pt>
                <c:pt idx="5">
                  <c:v>0.2702202107940904</c:v>
                </c:pt>
                <c:pt idx="6">
                  <c:v>0.2794696377802235</c:v>
                </c:pt>
                <c:pt idx="7">
                  <c:v>0.28848753968535223</c:v>
                </c:pt>
                <c:pt idx="8">
                  <c:v>0.2972825021119857</c:v>
                </c:pt>
                <c:pt idx="9">
                  <c:v>0.30586269134138755</c:v>
                </c:pt>
                <c:pt idx="10">
                  <c:v>0.31423587962436217</c:v>
                </c:pt>
                <c:pt idx="11">
                  <c:v>0.32240946866340464</c:v>
                </c:pt>
                <c:pt idx="12">
                  <c:v>0.33039051143533144</c:v>
                </c:pt>
                <c:pt idx="13">
                  <c:v>0.33818573248963485</c:v>
                </c:pt>
                <c:pt idx="14">
                  <c:v>0.3458015468453355</c:v>
                </c:pt>
                <c:pt idx="15">
                  <c:v>0.3532440775979481</c:v>
                </c:pt>
                <c:pt idx="16">
                  <c:v>0.36051917233812875</c:v>
                </c:pt>
                <c:pt idx="17">
                  <c:v>0.36763241847452316</c:v>
                </c:pt>
                <c:pt idx="18">
                  <c:v>0.3745891575452104</c:v>
                </c:pt>
                <c:pt idx="19">
                  <c:v>0.381394498594773</c:v>
                </c:pt>
                <c:pt idx="20">
                  <c:v>0.3880533306874017</c:v>
                </c:pt>
                <c:pt idx="21">
                  <c:v>0.3945703346204435</c:v>
                </c:pt>
                <c:pt idx="22">
                  <c:v>0.4009499938973619</c:v>
                </c:pt>
                <c:pt idx="23">
                  <c:v>0.40719660501417754</c:v>
                </c:pt>
                <c:pt idx="24">
                  <c:v>0.4133142871089745</c:v>
                </c:pt>
                <c:pt idx="25">
                  <c:v>0.4193069910200166</c:v>
                </c:pt>
                <c:pt idx="26">
                  <c:v>0.4251785077943342</c:v>
                </c:pt>
                <c:pt idx="27">
                  <c:v>0.4309324766852818</c:v>
                </c:pt>
                <c:pt idx="28">
                  <c:v>0.4365723926745256</c:v>
                </c:pt>
                <c:pt idx="29">
                  <c:v>0.4421016135511249</c:v>
                </c:pt>
                <c:pt idx="30">
                  <c:v>0.44752336657783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B$2:$B$28</c:f>
              <c:numCache>
                <c:formatCode>General</c:formatCode>
                <c:ptCount val="27"/>
                <c:pt idx="0">
                  <c:v>120.54295424786237</c:v>
                </c:pt>
                <c:pt idx="1">
                  <c:v>118.2593605900396</c:v>
                </c:pt>
                <c:pt idx="2">
                  <c:v>116.08898189821038</c:v>
                </c:pt>
                <c:pt idx="3">
                  <c:v>114.02249248134252</c:v>
                </c:pt>
                <c:pt idx="4">
                  <c:v>111.3255313153573</c:v>
                </c:pt>
                <c:pt idx="5">
                  <c:v>108.73281018130021</c:v>
                </c:pt>
                <c:pt idx="6">
                  <c:v>106.76552851587627</c:v>
                </c:pt>
                <c:pt idx="7">
                  <c:v>104.91147883615497</c:v>
                </c:pt>
                <c:pt idx="8">
                  <c:v>103.15946206769846</c:v>
                </c:pt>
                <c:pt idx="9">
                  <c:v>101.49977211944878</c:v>
                </c:pt>
                <c:pt idx="10">
                  <c:v>100.74514922939389</c:v>
                </c:pt>
                <c:pt idx="11">
                  <c:v>100.0</c:v>
                </c:pt>
                <c:pt idx="12">
                  <c:v>99.26414286944325</c:v>
                </c:pt>
                <c:pt idx="13">
                  <c:v>98.5374009573771</c:v>
                </c:pt>
                <c:pt idx="14">
                  <c:v>95.46236951871151</c:v>
                </c:pt>
                <c:pt idx="15">
                  <c:v>92.53998096996429</c:v>
                </c:pt>
                <c:pt idx="16">
                  <c:v>89.76164893759714</c:v>
                </c:pt>
                <c:pt idx="17">
                  <c:v>87.11897049273873</c:v>
                </c:pt>
                <c:pt idx="18">
                  <c:v>84.60380594878428</c:v>
                </c:pt>
                <c:pt idx="19">
                  <c:v>83.2104864785774</c:v>
                </c:pt>
                <c:pt idx="20">
                  <c:v>81.87196422830147</c:v>
                </c:pt>
                <c:pt idx="21">
                  <c:v>80.5846908953692</c:v>
                </c:pt>
                <c:pt idx="22">
                  <c:v>79.3454244987654</c:v>
                </c:pt>
                <c:pt idx="23">
                  <c:v>76.04644493060879</c:v>
                </c:pt>
                <c:pt idx="24">
                  <c:v>73.10040164607435</c:v>
                </c:pt>
                <c:pt idx="25">
                  <c:v>70.45450477826756</c:v>
                </c:pt>
                <c:pt idx="26">
                  <c:v>68.0650563496454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C$2:$C$28</c:f>
              <c:numCache>
                <c:formatCode>General</c:formatCode>
                <c:ptCount val="27"/>
                <c:pt idx="0">
                  <c:v>102.77339120378683</c:v>
                </c:pt>
                <c:pt idx="1">
                  <c:v>102.41108698911935</c:v>
                </c:pt>
                <c:pt idx="2">
                  <c:v>102.0872536846418</c:v>
                </c:pt>
                <c:pt idx="3">
                  <c:v>101.79809272244024</c:v>
                </c:pt>
                <c:pt idx="4">
                  <c:v>100.88095118091817</c:v>
                </c:pt>
                <c:pt idx="5">
                  <c:v>99.98771031483368</c:v>
                </c:pt>
                <c:pt idx="6">
                  <c:v>99.60989877205414</c:v>
                </c:pt>
                <c:pt idx="7">
                  <c:v>99.28657555210101</c:v>
                </c:pt>
                <c:pt idx="8">
                  <c:v>99.01152396303618</c:v>
                </c:pt>
                <c:pt idx="9">
                  <c:v>98.7793839139353</c:v>
                </c:pt>
                <c:pt idx="10">
                  <c:v>99.39515066315842</c:v>
                </c:pt>
                <c:pt idx="11">
                  <c:v>100.0</c:v>
                </c:pt>
                <c:pt idx="12">
                  <c:v>100.594136722517</c:v>
                </c:pt>
                <c:pt idx="13">
                  <c:v>101.17776038273973</c:v>
                </c:pt>
                <c:pt idx="14">
                  <c:v>99.29931532680243</c:v>
                </c:pt>
                <c:pt idx="15">
                  <c:v>97.49976007649889</c:v>
                </c:pt>
                <c:pt idx="16">
                  <c:v>95.77599568018714</c:v>
                </c:pt>
                <c:pt idx="17">
                  <c:v>94.12467109114534</c:v>
                </c:pt>
                <c:pt idx="18">
                  <c:v>92.54228159370813</c:v>
                </c:pt>
                <c:pt idx="19">
                  <c:v>92.13447545263563</c:v>
                </c:pt>
                <c:pt idx="20">
                  <c:v>91.75074988034802</c:v>
                </c:pt>
                <c:pt idx="21">
                  <c:v>91.38927849392242</c:v>
                </c:pt>
                <c:pt idx="22">
                  <c:v>91.0483970320256</c:v>
                </c:pt>
                <c:pt idx="23">
                  <c:v>88.28775678944423</c:v>
                </c:pt>
                <c:pt idx="24">
                  <c:v>85.85257819438189</c:v>
                </c:pt>
                <c:pt idx="25">
                  <c:v>83.6944447826298</c:v>
                </c:pt>
                <c:pt idx="26">
                  <c:v>81.773013171852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D$2:$D$28</c:f>
              <c:numCache>
                <c:formatCode>General</c:formatCode>
                <c:ptCount val="27"/>
                <c:pt idx="0">
                  <c:v>65.54141141213496</c:v>
                </c:pt>
                <c:pt idx="1">
                  <c:v>69.20655628815895</c:v>
                </c:pt>
                <c:pt idx="2">
                  <c:v>72.75274979097168</c:v>
                </c:pt>
                <c:pt idx="3">
                  <c:v>76.18790490277722</c:v>
                </c:pt>
                <c:pt idx="4">
                  <c:v>79.00282445308686</c:v>
                </c:pt>
                <c:pt idx="5">
                  <c:v>81.67192494460336</c:v>
                </c:pt>
                <c:pt idx="6">
                  <c:v>84.62237204391438</c:v>
                </c:pt>
                <c:pt idx="7">
                  <c:v>87.50388442961365</c:v>
                </c:pt>
                <c:pt idx="8">
                  <c:v>90.32076834113002</c:v>
                </c:pt>
                <c:pt idx="9">
                  <c:v>93.0768378323987</c:v>
                </c:pt>
                <c:pt idx="10">
                  <c:v>96.5650587418346</c:v>
                </c:pt>
                <c:pt idx="11">
                  <c:v>100.0</c:v>
                </c:pt>
                <c:pt idx="12">
                  <c:v>103.38265711711709</c:v>
                </c:pt>
                <c:pt idx="13">
                  <c:v>106.71400033367048</c:v>
                </c:pt>
                <c:pt idx="14">
                  <c:v>107.33770985707356</c:v>
                </c:pt>
                <c:pt idx="15">
                  <c:v>107.88448416332635</c:v>
                </c:pt>
                <c:pt idx="16">
                  <c:v>108.36295982868891</c:v>
                </c:pt>
                <c:pt idx="17">
                  <c:v>108.78057305098355</c:v>
                </c:pt>
                <c:pt idx="18">
                  <c:v>109.14370182519914</c:v>
                </c:pt>
                <c:pt idx="19">
                  <c:v>110.79515226589949</c:v>
                </c:pt>
                <c:pt idx="20">
                  <c:v>112.4062578120687</c:v>
                </c:pt>
                <c:pt idx="21">
                  <c:v>113.97882099640732</c:v>
                </c:pt>
                <c:pt idx="22">
                  <c:v>115.51450118319764</c:v>
                </c:pt>
                <c:pt idx="23">
                  <c:v>113.85516881601629</c:v>
                </c:pt>
                <c:pt idx="24">
                  <c:v>112.4668370114341</c:v>
                </c:pt>
                <c:pt idx="25">
                  <c:v>111.30968671303268</c:v>
                </c:pt>
                <c:pt idx="26">
                  <c:v>110.349955919735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E$2:$E$28</c:f>
              <c:numCache>
                <c:formatCode>General</c:formatCode>
                <c:ptCount val="27"/>
                <c:pt idx="0">
                  <c:v>0.20812409396015524</c:v>
                </c:pt>
                <c:pt idx="1">
                  <c:v>0.220516518154832</c:v>
                </c:pt>
                <c:pt idx="2">
                  <c:v>0.23252704946215344</c:v>
                </c:pt>
                <c:pt idx="3">
                  <c:v>0.24417307299080088</c:v>
                </c:pt>
                <c:pt idx="4">
                  <c:v>0.25547093438107293</c:v>
                </c:pt>
                <c:pt idx="5">
                  <c:v>0.2664360163489508</c:v>
                </c:pt>
                <c:pt idx="6">
                  <c:v>0.2770828085644961</c:v>
                </c:pt>
                <c:pt idx="7">
                  <c:v>0.2874249715320997</c:v>
                </c:pt>
                <c:pt idx="8">
                  <c:v>0.29747539506479237</c:v>
                </c:pt>
                <c:pt idx="9">
                  <c:v>0.30724625187891197</c:v>
                </c:pt>
                <c:pt idx="10">
                  <c:v>0.3167490467776923</c:v>
                </c:pt>
                <c:pt idx="11">
                  <c:v>0.32599466184159376</c:v>
                </c:pt>
                <c:pt idx="12">
                  <c:v>0.3349933979985817</c:v>
                </c:pt>
                <c:pt idx="13">
                  <c:v>0.34375501330821834</c:v>
                </c:pt>
                <c:pt idx="14">
                  <c:v>0.3522887582586965</c:v>
                </c:pt>
                <c:pt idx="15">
                  <c:v>0.36060340834523447</c:v>
                </c:pt>
                <c:pt idx="16">
                  <c:v>0.3687072941710235</c:v>
                </c:pt>
                <c:pt idx="17">
                  <c:v>0.376608329287782</c:v>
                </c:pt>
                <c:pt idx="18">
                  <c:v>0.38431403597149283</c:v>
                </c:pt>
                <c:pt idx="19">
                  <c:v>0.3918315691098142</c:v>
                </c:pt>
                <c:pt idx="20">
                  <c:v>0.39916773836060043</c:v>
                </c:pt>
                <c:pt idx="21">
                  <c:v>0.40632902872578996</c:v>
                </c:pt>
                <c:pt idx="22">
                  <c:v>0.4133216196713048</c:v>
                </c:pt>
                <c:pt idx="23">
                  <c:v>0.42015140291145253</c:v>
                </c:pt>
                <c:pt idx="24">
                  <c:v>0.42682399896540596</c:v>
                </c:pt>
                <c:pt idx="25">
                  <c:v>0.4333447725835468</c:v>
                </c:pt>
                <c:pt idx="26">
                  <c:v>0.439718847132663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B$2:$B$28</c:f>
              <c:numCache>
                <c:formatCode>General</c:formatCode>
                <c:ptCount val="27"/>
                <c:pt idx="0">
                  <c:v>115.2267155858812</c:v>
                </c:pt>
                <c:pt idx="1">
                  <c:v>113.51862060626455</c:v>
                </c:pt>
                <c:pt idx="2">
                  <c:v>111.90104192314756</c:v>
                </c:pt>
                <c:pt idx="3">
                  <c:v>110.36643748658517</c:v>
                </c:pt>
                <c:pt idx="4">
                  <c:v>108.76012227775706</c:v>
                </c:pt>
                <c:pt idx="5">
                  <c:v>107.2081312650971</c:v>
                </c:pt>
                <c:pt idx="6">
                  <c:v>105.55711199719002</c:v>
                </c:pt>
                <c:pt idx="7">
                  <c:v>104.01202706160493</c:v>
                </c:pt>
                <c:pt idx="8">
                  <c:v>102.56112123180137</c:v>
                </c:pt>
                <c:pt idx="9">
                  <c:v>101.19419620485913</c:v>
                </c:pt>
                <c:pt idx="10">
                  <c:v>100.59363034058093</c:v>
                </c:pt>
                <c:pt idx="11">
                  <c:v>100.0</c:v>
                </c:pt>
                <c:pt idx="12">
                  <c:v>99.4131621025166</c:v>
                </c:pt>
                <c:pt idx="13">
                  <c:v>98.8329773611965</c:v>
                </c:pt>
                <c:pt idx="14">
                  <c:v>97.16779205600663</c:v>
                </c:pt>
                <c:pt idx="15">
                  <c:v>95.55207403672324</c:v>
                </c:pt>
                <c:pt idx="16">
                  <c:v>93.98353646350883</c:v>
                </c:pt>
                <c:pt idx="17">
                  <c:v>92.46000268099922</c:v>
                </c:pt>
                <c:pt idx="18">
                  <c:v>90.97941572415212</c:v>
                </c:pt>
                <c:pt idx="19">
                  <c:v>90.26989743185372</c:v>
                </c:pt>
                <c:pt idx="20">
                  <c:v>89.57687238871306</c:v>
                </c:pt>
                <c:pt idx="21">
                  <c:v>88.8995218762784</c:v>
                </c:pt>
                <c:pt idx="22">
                  <c:v>88.23708807882336</c:v>
                </c:pt>
                <c:pt idx="23">
                  <c:v>85.13314573210852</c:v>
                </c:pt>
                <c:pt idx="24">
                  <c:v>82.30352777183</c:v>
                </c:pt>
                <c:pt idx="25">
                  <c:v>79.70983789092973</c:v>
                </c:pt>
                <c:pt idx="26">
                  <c:v>77.3192862292924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C$2:$C$28</c:f>
              <c:numCache>
                <c:formatCode>General</c:formatCode>
                <c:ptCount val="27"/>
                <c:pt idx="0">
                  <c:v>98.8204590445643</c:v>
                </c:pt>
                <c:pt idx="1">
                  <c:v>98.82768553546241</c:v>
                </c:pt>
                <c:pt idx="2">
                  <c:v>98.87035001153971</c:v>
                </c:pt>
                <c:pt idx="3">
                  <c:v>98.94518053150613</c:v>
                </c:pt>
                <c:pt idx="4">
                  <c:v>98.91066428270865</c:v>
                </c:pt>
                <c:pt idx="5">
                  <c:v>98.88469104146286</c:v>
                </c:pt>
                <c:pt idx="6">
                  <c:v>98.72960433078634</c:v>
                </c:pt>
                <c:pt idx="7">
                  <c:v>98.6320190983189</c:v>
                </c:pt>
                <c:pt idx="8">
                  <c:v>98.58470357206419</c:v>
                </c:pt>
                <c:pt idx="9">
                  <c:v>98.5813452784779</c:v>
                </c:pt>
                <c:pt idx="10">
                  <c:v>99.29541565280857</c:v>
                </c:pt>
                <c:pt idx="11">
                  <c:v>100.0</c:v>
                </c:pt>
                <c:pt idx="12">
                  <c:v>100.6952557628483</c:v>
                </c:pt>
                <c:pt idx="13">
                  <c:v>101.38133572953383</c:v>
                </c:pt>
                <c:pt idx="14">
                  <c:v>100.92315311575479</c:v>
                </c:pt>
                <c:pt idx="15">
                  <c:v>100.47480026457734</c:v>
                </c:pt>
                <c:pt idx="16">
                  <c:v>100.03569786783233</c:v>
                </c:pt>
                <c:pt idx="17">
                  <c:v>99.60527216027306</c:v>
                </c:pt>
                <c:pt idx="18">
                  <c:v>99.1829719357185</c:v>
                </c:pt>
                <c:pt idx="19">
                  <c:v>99.57288129448561</c:v>
                </c:pt>
                <c:pt idx="20">
                  <c:v>99.96243491854196</c:v>
                </c:pt>
                <c:pt idx="21">
                  <c:v>100.35136045031967</c:v>
                </c:pt>
                <c:pt idx="22">
                  <c:v>100.73941263905701</c:v>
                </c:pt>
                <c:pt idx="23">
                  <c:v>98.32189075061774</c:v>
                </c:pt>
                <c:pt idx="24">
                  <c:v>96.14194677117787</c:v>
                </c:pt>
                <c:pt idx="25">
                  <c:v>94.16531315433741</c:v>
                </c:pt>
                <c:pt idx="26">
                  <c:v>92.362353847774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D$2:$D$28</c:f>
              <c:numCache>
                <c:formatCode>General</c:formatCode>
                <c:ptCount val="27"/>
                <c:pt idx="0">
                  <c:v>53.25038875659007</c:v>
                </c:pt>
                <c:pt idx="1">
                  <c:v>58.013493445235675</c:v>
                </c:pt>
                <c:pt idx="2">
                  <c:v>62.65909535557219</c:v>
                </c:pt>
                <c:pt idx="3">
                  <c:v>67.19604522078217</c:v>
                </c:pt>
                <c:pt idx="4">
                  <c:v>71.53713046250542</c:v>
                </c:pt>
                <c:pt idx="5">
                  <c:v>75.75874685705182</c:v>
                </c:pt>
                <c:pt idx="6">
                  <c:v>79.75196610839272</c:v>
                </c:pt>
                <c:pt idx="7">
                  <c:v>83.66854288372906</c:v>
                </c:pt>
                <c:pt idx="8">
                  <c:v>87.51404291910914</c:v>
                </c:pt>
                <c:pt idx="9">
                  <c:v>91.29312622957924</c:v>
                </c:pt>
                <c:pt idx="10">
                  <c:v>95.67258380269978</c:v>
                </c:pt>
                <c:pt idx="11">
                  <c:v>100.0</c:v>
                </c:pt>
                <c:pt idx="12">
                  <c:v>104.27625052214378</c:v>
                </c:pt>
                <c:pt idx="13">
                  <c:v>108.50218695229947</c:v>
                </c:pt>
                <c:pt idx="14">
                  <c:v>111.4209277830204</c:v>
                </c:pt>
                <c:pt idx="15">
                  <c:v>114.23567768730254</c:v>
                </c:pt>
                <c:pt idx="16">
                  <c:v>116.95088389124794</c:v>
                </c:pt>
                <c:pt idx="17">
                  <c:v>119.57068562926216</c:v>
                </c:pt>
                <c:pt idx="18">
                  <c:v>122.09895426637785</c:v>
                </c:pt>
                <c:pt idx="19">
                  <c:v>125.55972430976952</c:v>
                </c:pt>
                <c:pt idx="20">
                  <c:v>128.97471700265922</c:v>
                </c:pt>
                <c:pt idx="21">
                  <c:v>132.34514056104848</c:v>
                </c:pt>
                <c:pt idx="22">
                  <c:v>135.67213616405033</c:v>
                </c:pt>
                <c:pt idx="23">
                  <c:v>135.02686156652496</c:v>
                </c:pt>
                <c:pt idx="24">
                  <c:v>134.53128033403746</c:v>
                </c:pt>
                <c:pt idx="25">
                  <c:v>134.16015954331843</c:v>
                </c:pt>
                <c:pt idx="26">
                  <c:v>133.890630815527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E$2:$E$28</c:f>
              <c:numCache>
                <c:formatCode>General</c:formatCode>
                <c:ptCount val="27"/>
                <c:pt idx="0">
                  <c:v>0.14994614695626998</c:v>
                </c:pt>
                <c:pt idx="1">
                  <c:v>0.16324902415570258</c:v>
                </c:pt>
                <c:pt idx="2">
                  <c:v>0.17614195136439723</c:v>
                </c:pt>
                <c:pt idx="3">
                  <c:v>0.18864359094915606</c:v>
                </c:pt>
                <c:pt idx="4">
                  <c:v>0.20077148944020004</c:v>
                </c:pt>
                <c:pt idx="5">
                  <c:v>0.21254215969881268</c:v>
                </c:pt>
                <c:pt idx="6">
                  <c:v>0.22397115592959926</c:v>
                </c:pt>
                <c:pt idx="7">
                  <c:v>0.23507314225392534</c:v>
                </c:pt>
                <c:pt idx="8">
                  <c:v>0.24586195548024517</c:v>
                </c:pt>
                <c:pt idx="9">
                  <c:v>0.25635066263629197</c:v>
                </c:pt>
                <c:pt idx="10">
                  <c:v>0.26655161376610953</c:v>
                </c:pt>
                <c:pt idx="11">
                  <c:v>0.2764764904404518</c:v>
                </c:pt>
                <c:pt idx="12">
                  <c:v>0.28613635038116675</c:v>
                </c:pt>
                <c:pt idx="13">
                  <c:v>0.29554166855796293</c:v>
                </c:pt>
                <c:pt idx="14">
                  <c:v>0.30470237507866565</c:v>
                </c:pt>
                <c:pt idx="15">
                  <c:v>0.31362789016109627</c:v>
                </c:pt>
                <c:pt idx="16">
                  <c:v>0.3223271564454929</c:v>
                </c:pt>
                <c:pt idx="17">
                  <c:v>0.33080866888046806</c:v>
                </c:pt>
                <c:pt idx="18">
                  <c:v>0.3390805023924521</c:v>
                </c:pt>
                <c:pt idx="19">
                  <c:v>0.34715033752807556</c:v>
                </c:pt>
                <c:pt idx="20">
                  <c:v>0.3550254842406439</c:v>
                </c:pt>
                <c:pt idx="21">
                  <c:v>0.362712903975559</c:v>
                </c:pt>
                <c:pt idx="22">
                  <c:v>0.370219230194928</c:v>
                </c:pt>
                <c:pt idx="23">
                  <c:v>0.3775507874685609</c:v>
                </c:pt>
                <c:pt idx="24">
                  <c:v>0.3847136092468284</c:v>
                </c:pt>
                <c:pt idx="25">
                  <c:v>0.3917134544203569</c:v>
                </c:pt>
                <c:pt idx="26">
                  <c:v>0.398555822762085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B$2:$B$28</c:f>
              <c:numCache>
                <c:formatCode>General</c:formatCode>
                <c:ptCount val="27"/>
                <c:pt idx="0">
                  <c:v>114.86292091395633</c:v>
                </c:pt>
                <c:pt idx="1">
                  <c:v>113.35973998015237</c:v>
                </c:pt>
                <c:pt idx="2">
                  <c:v>111.92575839095231</c:v>
                </c:pt>
                <c:pt idx="3">
                  <c:v>110.55475627171244</c:v>
                </c:pt>
                <c:pt idx="4">
                  <c:v>108.80499069224372</c:v>
                </c:pt>
                <c:pt idx="5">
                  <c:v>107.11234301129811</c:v>
                </c:pt>
                <c:pt idx="6">
                  <c:v>105.54878125499951</c:v>
                </c:pt>
                <c:pt idx="7">
                  <c:v>104.07763950464619</c:v>
                </c:pt>
                <c:pt idx="8">
                  <c:v>102.68816090802207</c:v>
                </c:pt>
                <c:pt idx="9">
                  <c:v>101.37122205515716</c:v>
                </c:pt>
                <c:pt idx="10">
                  <c:v>100.68155287481699</c:v>
                </c:pt>
                <c:pt idx="11">
                  <c:v>100.0</c:v>
                </c:pt>
                <c:pt idx="12">
                  <c:v>99.32639818018683</c:v>
                </c:pt>
                <c:pt idx="13">
                  <c:v>98.66058696432536</c:v>
                </c:pt>
                <c:pt idx="14">
                  <c:v>96.36186435121527</c:v>
                </c:pt>
                <c:pt idx="15">
                  <c:v>94.15878996286956</c:v>
                </c:pt>
                <c:pt idx="16">
                  <c:v>92.04635901928863</c:v>
                </c:pt>
                <c:pt idx="17">
                  <c:v>90.01975755328968</c:v>
                </c:pt>
                <c:pt idx="18">
                  <c:v>88.0743729338301</c:v>
                </c:pt>
                <c:pt idx="19">
                  <c:v>87.29395780638603</c:v>
                </c:pt>
                <c:pt idx="20">
                  <c:v>86.53095486081833</c:v>
                </c:pt>
                <c:pt idx="21">
                  <c:v>85.78443339068235</c:v>
                </c:pt>
                <c:pt idx="22">
                  <c:v>85.0535504981324</c:v>
                </c:pt>
                <c:pt idx="23">
                  <c:v>82.09225859918496</c:v>
                </c:pt>
                <c:pt idx="24">
                  <c:v>79.40020789946726</c:v>
                </c:pt>
                <c:pt idx="25">
                  <c:v>76.93903433572697</c:v>
                </c:pt>
                <c:pt idx="26">
                  <c:v>74.6769843209123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C$2:$C$28</c:f>
              <c:numCache>
                <c:formatCode>General</c:formatCode>
                <c:ptCount val="27"/>
                <c:pt idx="0">
                  <c:v>97.99968285329975</c:v>
                </c:pt>
                <c:pt idx="1">
                  <c:v>98.23129976052974</c:v>
                </c:pt>
                <c:pt idx="2">
                  <c:v>98.48348845730074</c:v>
                </c:pt>
                <c:pt idx="3">
                  <c:v>98.75346344358351</c:v>
                </c:pt>
                <c:pt idx="4">
                  <c:v>98.6418040745636</c:v>
                </c:pt>
                <c:pt idx="5">
                  <c:v>98.5360353527325</c:v>
                </c:pt>
                <c:pt idx="6">
                  <c:v>98.50677579055606</c:v>
                </c:pt>
                <c:pt idx="7">
                  <c:v>98.5231748380555</c:v>
                </c:pt>
                <c:pt idx="8">
                  <c:v>98.5785963848239</c:v>
                </c:pt>
                <c:pt idx="9">
                  <c:v>98.66742319190695</c:v>
                </c:pt>
                <c:pt idx="10">
                  <c:v>99.33898559917188</c:v>
                </c:pt>
                <c:pt idx="11">
                  <c:v>100.0</c:v>
                </c:pt>
                <c:pt idx="12">
                  <c:v>100.6506352829576</c:v>
                </c:pt>
                <c:pt idx="13">
                  <c:v>101.29105602694331</c:v>
                </c:pt>
                <c:pt idx="14">
                  <c:v>100.21514333464512</c:v>
                </c:pt>
                <c:pt idx="15">
                  <c:v>99.17915026099266</c:v>
                </c:pt>
                <c:pt idx="16">
                  <c:v>98.18150772531041</c:v>
                </c:pt>
                <c:pt idx="17">
                  <c:v>97.22059192780073</c:v>
                </c:pt>
                <c:pt idx="18">
                  <c:v>96.29474799441383</c:v>
                </c:pt>
                <c:pt idx="19">
                  <c:v>96.60570792992296</c:v>
                </c:pt>
                <c:pt idx="20">
                  <c:v>96.91524019282534</c:v>
                </c:pt>
                <c:pt idx="21">
                  <c:v>97.22299144129316</c:v>
                </c:pt>
                <c:pt idx="22">
                  <c:v>97.52865926843602</c:v>
                </c:pt>
                <c:pt idx="23">
                  <c:v>95.23537081428786</c:v>
                </c:pt>
                <c:pt idx="24">
                  <c:v>93.17836503479724</c:v>
                </c:pt>
                <c:pt idx="25">
                  <c:v>91.3229960855159</c:v>
                </c:pt>
                <c:pt idx="26">
                  <c:v>89.640482217152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D$2:$D$28</c:f>
              <c:numCache>
                <c:formatCode>General</c:formatCode>
                <c:ptCount val="27"/>
                <c:pt idx="0">
                  <c:v>33.19649765049978</c:v>
                </c:pt>
                <c:pt idx="1">
                  <c:v>40.09243136486147</c:v>
                </c:pt>
                <c:pt idx="2">
                  <c:v>46.822063239176416</c:v>
                </c:pt>
                <c:pt idx="3">
                  <c:v>53.395911137843946</c:v>
                </c:pt>
                <c:pt idx="4">
                  <c:v>59.583977356163</c:v>
                </c:pt>
                <c:pt idx="5">
                  <c:v>65.58004568243949</c:v>
                </c:pt>
                <c:pt idx="6">
                  <c:v>71.4440428419582</c:v>
                </c:pt>
                <c:pt idx="7">
                  <c:v>77.17395628741457</c:v>
                </c:pt>
                <c:pt idx="8">
                  <c:v>82.77909460164312</c:v>
                </c:pt>
                <c:pt idx="9">
                  <c:v>88.26739764120636</c:v>
                </c:pt>
                <c:pt idx="10">
                  <c:v>94.17434115797522</c:v>
                </c:pt>
                <c:pt idx="11">
                  <c:v>100.0</c:v>
                </c:pt>
                <c:pt idx="12">
                  <c:v>105.74578142447398</c:v>
                </c:pt>
                <c:pt idx="13">
                  <c:v>111.41305503382846</c:v>
                </c:pt>
                <c:pt idx="14">
                  <c:v>115.03808424344251</c:v>
                </c:pt>
                <c:pt idx="15">
                  <c:v>118.48613643229622</c:v>
                </c:pt>
                <c:pt idx="16">
                  <c:v>121.76918893638596</c:v>
                </c:pt>
                <c:pt idx="17">
                  <c:v>124.89818223944238</c:v>
                </c:pt>
                <c:pt idx="18">
                  <c:v>127.88309798001256</c:v>
                </c:pt>
                <c:pt idx="19">
                  <c:v>132.38828653798544</c:v>
                </c:pt>
                <c:pt idx="20">
                  <c:v>136.82000252767054</c:v>
                </c:pt>
                <c:pt idx="21">
                  <c:v>141.18009804361589</c:v>
                </c:pt>
                <c:pt idx="22">
                  <c:v>145.47033426900418</c:v>
                </c:pt>
                <c:pt idx="23">
                  <c:v>145.69178169618752</c:v>
                </c:pt>
                <c:pt idx="24">
                  <c:v>146.0277511258748</c:v>
                </c:pt>
                <c:pt idx="25">
                  <c:v>146.4570484696273</c:v>
                </c:pt>
                <c:pt idx="26">
                  <c:v>146.961647658125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E$2:$E$28</c:f>
              <c:numCache>
                <c:formatCode>General</c:formatCode>
                <c:ptCount val="27"/>
                <c:pt idx="0">
                  <c:v>0.07102719458889686</c:v>
                </c:pt>
                <c:pt idx="1">
                  <c:v>0.08556511016653524</c:v>
                </c:pt>
                <c:pt idx="2">
                  <c:v>0.099655016019131</c:v>
                </c:pt>
                <c:pt idx="3">
                  <c:v>0.1133173071265796</c:v>
                </c:pt>
                <c:pt idx="4">
                  <c:v>0.126571159037991</c:v>
                </c:pt>
                <c:pt idx="5">
                  <c:v>0.13943461766777027</c:v>
                </c:pt>
                <c:pt idx="6">
                  <c:v>0.1519246812720115</c:v>
                </c:pt>
                <c:pt idx="7">
                  <c:v>0.16405737538829177</c:v>
                </c:pt>
                <c:pt idx="8">
                  <c:v>0.17584782143359104</c:v>
                </c:pt>
                <c:pt idx="9">
                  <c:v>0.1873102995777693</c:v>
                </c:pt>
                <c:pt idx="10">
                  <c:v>0.1984583064422718</c:v>
                </c:pt>
                <c:pt idx="11">
                  <c:v>0.20930460811422996</c:v>
                </c:pt>
                <c:pt idx="12">
                  <c:v>0.21986128891377307</c:v>
                </c:pt>
                <c:pt idx="13">
                  <c:v>0.23013979630621334</c:v>
                </c:pt>
                <c:pt idx="14">
                  <c:v>0.24015098231003396</c:v>
                </c:pt>
                <c:pt idx="15">
                  <c:v>0.2499051417155534</c:v>
                </c:pt>
                <c:pt idx="16">
                  <c:v>0.259412047397232</c:v>
                </c:pt>
                <c:pt idx="17">
                  <c:v>0.2686809829742382</c:v>
                </c:pt>
                <c:pt idx="18">
                  <c:v>0.2777207730487217</c:v>
                </c:pt>
                <c:pt idx="19">
                  <c:v>0.2865398112288349</c:v>
                </c:pt>
                <c:pt idx="20">
                  <c:v>0.2951460861235414</c:v>
                </c:pt>
                <c:pt idx="21">
                  <c:v>0.3035472054784461</c:v>
                </c:pt>
                <c:pt idx="22">
                  <c:v>0.3117504186059083</c:v>
                </c:pt>
                <c:pt idx="23">
                  <c:v>0.3197626372484472</c:v>
                </c:pt>
                <c:pt idx="24">
                  <c:v>0.3275904550016296</c:v>
                </c:pt>
                <c:pt idx="25">
                  <c:v>0.33524016541116725</c:v>
                </c:pt>
                <c:pt idx="26">
                  <c:v>0.342717778848612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4"/>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7.29</c:v>
                </c:pt>
                <c:pt idx="1">
                  <c:v>7.39</c:v>
                </c:pt>
                <c:pt idx="2">
                  <c:v>7.49</c:v>
                </c:pt>
                <c:pt idx="3">
                  <c:v>7.59</c:v>
                </c:pt>
                <c:pt idx="4">
                  <c:v>7.69</c:v>
                </c:pt>
                <c:pt idx="5">
                  <c:v>7.79</c:v>
                </c:pt>
                <c:pt idx="6">
                  <c:v>7.89</c:v>
                </c:pt>
                <c:pt idx="7">
                  <c:v>7.99</c:v>
                </c:pt>
                <c:pt idx="8">
                  <c:v>8.09</c:v>
                </c:pt>
                <c:pt idx="9">
                  <c:v>8.19</c:v>
                </c:pt>
                <c:pt idx="10">
                  <c:v>8.29</c:v>
                </c:pt>
                <c:pt idx="11">
                  <c:v>8.39</c:v>
                </c:pt>
                <c:pt idx="12">
                  <c:v>8.49</c:v>
                </c:pt>
                <c:pt idx="13">
                  <c:v>8.59</c:v>
                </c:pt>
                <c:pt idx="14">
                  <c:v>8.69</c:v>
                </c:pt>
                <c:pt idx="15">
                  <c:v>8.79</c:v>
                </c:pt>
                <c:pt idx="16">
                  <c:v>8.89</c:v>
                </c:pt>
                <c:pt idx="17">
                  <c:v>8.99</c:v>
                </c:pt>
                <c:pt idx="18">
                  <c:v>9.09</c:v>
                </c:pt>
                <c:pt idx="19">
                  <c:v>9.19</c:v>
                </c:pt>
                <c:pt idx="20">
                  <c:v>9.29</c:v>
                </c:pt>
                <c:pt idx="21">
                  <c:v>9.39</c:v>
                </c:pt>
                <c:pt idx="22">
                  <c:v>9.49</c:v>
                </c:pt>
                <c:pt idx="23">
                  <c:v>9.59</c:v>
                </c:pt>
                <c:pt idx="24">
                  <c:v>9.69</c:v>
                </c:pt>
                <c:pt idx="25">
                  <c:v>9.79</c:v>
                </c:pt>
                <c:pt idx="26">
                  <c:v>9.89</c:v>
                </c:pt>
                <c:pt idx="27">
                  <c:v>9.99</c:v>
                </c:pt>
                <c:pt idx="28">
                  <c:v>10.09</c:v>
                </c:pt>
                <c:pt idx="29">
                  <c:v>10.19</c:v>
                </c:pt>
                <c:pt idx="30">
                  <c:v>10.29</c:v>
                </c:pt>
              </c:strCache>
            </c:strRef>
          </c:cat>
          <c:val>
            <c:numRef>
              <c:f>Sheet1!$B$2:$B$32</c:f>
              <c:numCache>
                <c:formatCode>General</c:formatCode>
                <c:ptCount val="31"/>
                <c:pt idx="0">
                  <c:v>120.82637152749882</c:v>
                </c:pt>
                <c:pt idx="1">
                  <c:v>119.42747060904179</c:v>
                </c:pt>
                <c:pt idx="2">
                  <c:v>118.05940922863442</c:v>
                </c:pt>
                <c:pt idx="3">
                  <c:v>116.72120709659599</c:v>
                </c:pt>
                <c:pt idx="4">
                  <c:v>114.93579689602554</c:v>
                </c:pt>
                <c:pt idx="5">
                  <c:v>113.21805360378623</c:v>
                </c:pt>
                <c:pt idx="6">
                  <c:v>111.56351492925623</c:v>
                </c:pt>
                <c:pt idx="7">
                  <c:v>109.96807571519093</c:v>
                </c:pt>
                <c:pt idx="8">
                  <c:v>108.42796264015398</c:v>
                </c:pt>
                <c:pt idx="9">
                  <c:v>106.66067227621765</c:v>
                </c:pt>
                <c:pt idx="10">
                  <c:v>104.97411303780446</c:v>
                </c:pt>
                <c:pt idx="11">
                  <c:v>103.36138061761717</c:v>
                </c:pt>
                <c:pt idx="12">
                  <c:v>101.81628388693409</c:v>
                </c:pt>
                <c:pt idx="13">
                  <c:v>100.0</c:v>
                </c:pt>
                <c:pt idx="14">
                  <c:v>98.3243945145784</c:v>
                </c:pt>
                <c:pt idx="15">
                  <c:v>96.76812958516268</c:v>
                </c:pt>
                <c:pt idx="16">
                  <c:v>95.31417798720551</c:v>
                </c:pt>
                <c:pt idx="17">
                  <c:v>93.94884452669847</c:v>
                </c:pt>
                <c:pt idx="18">
                  <c:v>92.8566502479434</c:v>
                </c:pt>
                <c:pt idx="19">
                  <c:v>91.78575892542</c:v>
                </c:pt>
                <c:pt idx="20">
                  <c:v>90.73548428364676</c:v>
                </c:pt>
                <c:pt idx="21">
                  <c:v>89.70517243668908</c:v>
                </c:pt>
                <c:pt idx="22">
                  <c:v>88.69419996727565</c:v>
                </c:pt>
                <c:pt idx="23">
                  <c:v>87.70197213199772</c:v>
                </c:pt>
                <c:pt idx="24">
                  <c:v>85.0598728142545</c:v>
                </c:pt>
                <c:pt idx="25">
                  <c:v>82.54326947832014</c:v>
                </c:pt>
                <c:pt idx="26">
                  <c:v>80.14629835671839</c:v>
                </c:pt>
                <c:pt idx="27">
                  <c:v>77.86311716828423</c:v>
                </c:pt>
                <c:pt idx="28">
                  <c:v>77.28949190524507</c:v>
                </c:pt>
                <c:pt idx="29">
                  <c:v>76.72481797812644</c:v>
                </c:pt>
                <c:pt idx="30">
                  <c:v>76.1688210631904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7.29</c:v>
                </c:pt>
                <c:pt idx="1">
                  <c:v>7.39</c:v>
                </c:pt>
                <c:pt idx="2">
                  <c:v>7.49</c:v>
                </c:pt>
                <c:pt idx="3">
                  <c:v>7.59</c:v>
                </c:pt>
                <c:pt idx="4">
                  <c:v>7.69</c:v>
                </c:pt>
                <c:pt idx="5">
                  <c:v>7.79</c:v>
                </c:pt>
                <c:pt idx="6">
                  <c:v>7.89</c:v>
                </c:pt>
                <c:pt idx="7">
                  <c:v>7.99</c:v>
                </c:pt>
                <c:pt idx="8">
                  <c:v>8.09</c:v>
                </c:pt>
                <c:pt idx="9">
                  <c:v>8.19</c:v>
                </c:pt>
                <c:pt idx="10">
                  <c:v>8.29</c:v>
                </c:pt>
                <c:pt idx="11">
                  <c:v>8.39</c:v>
                </c:pt>
                <c:pt idx="12">
                  <c:v>8.49</c:v>
                </c:pt>
                <c:pt idx="13">
                  <c:v>8.59</c:v>
                </c:pt>
                <c:pt idx="14">
                  <c:v>8.69</c:v>
                </c:pt>
                <c:pt idx="15">
                  <c:v>8.79</c:v>
                </c:pt>
                <c:pt idx="16">
                  <c:v>8.89</c:v>
                </c:pt>
                <c:pt idx="17">
                  <c:v>8.99</c:v>
                </c:pt>
                <c:pt idx="18">
                  <c:v>9.09</c:v>
                </c:pt>
                <c:pt idx="19">
                  <c:v>9.19</c:v>
                </c:pt>
                <c:pt idx="20">
                  <c:v>9.29</c:v>
                </c:pt>
                <c:pt idx="21">
                  <c:v>9.39</c:v>
                </c:pt>
                <c:pt idx="22">
                  <c:v>9.49</c:v>
                </c:pt>
                <c:pt idx="23">
                  <c:v>9.59</c:v>
                </c:pt>
                <c:pt idx="24">
                  <c:v>9.69</c:v>
                </c:pt>
                <c:pt idx="25">
                  <c:v>9.79</c:v>
                </c:pt>
                <c:pt idx="26">
                  <c:v>9.89</c:v>
                </c:pt>
                <c:pt idx="27">
                  <c:v>9.99</c:v>
                </c:pt>
                <c:pt idx="28">
                  <c:v>10.09</c:v>
                </c:pt>
                <c:pt idx="29">
                  <c:v>10.19</c:v>
                </c:pt>
                <c:pt idx="30">
                  <c:v>10.29</c:v>
                </c:pt>
              </c:strCache>
            </c:strRef>
          </c:cat>
          <c:val>
            <c:numRef>
              <c:f>Sheet1!$C$2:$C$32</c:f>
              <c:numCache>
                <c:formatCode>General</c:formatCode>
                <c:ptCount val="31"/>
                <c:pt idx="0">
                  <c:v>102.8280471502303</c:v>
                </c:pt>
                <c:pt idx="1">
                  <c:v>103.00598939480032</c:v>
                </c:pt>
                <c:pt idx="2">
                  <c:v>103.17872259747953</c:v>
                </c:pt>
                <c:pt idx="3">
                  <c:v>103.34644641887523</c:v>
                </c:pt>
                <c:pt idx="4">
                  <c:v>103.0804883041149</c:v>
                </c:pt>
                <c:pt idx="5">
                  <c:v>102.83533530204522</c:v>
                </c:pt>
                <c:pt idx="6">
                  <c:v>102.60917713247805</c:v>
                </c:pt>
                <c:pt idx="7">
                  <c:v>102.40033570398906</c:v>
                </c:pt>
                <c:pt idx="8">
                  <c:v>102.20726121964799</c:v>
                </c:pt>
                <c:pt idx="9">
                  <c:v>101.76471403655516</c:v>
                </c:pt>
                <c:pt idx="10">
                  <c:v>101.35963195569921</c:v>
                </c:pt>
                <c:pt idx="11">
                  <c:v>100.98803572375105</c:v>
                </c:pt>
                <c:pt idx="12">
                  <c:v>100.64633681009639</c:v>
                </c:pt>
                <c:pt idx="13">
                  <c:v>100.0</c:v>
                </c:pt>
                <c:pt idx="14">
                  <c:v>99.45407431677764</c:v>
                </c:pt>
                <c:pt idx="15">
                  <c:v>98.99159575611701</c:v>
                </c:pt>
                <c:pt idx="16">
                  <c:v>98.59907657848655</c:v>
                </c:pt>
                <c:pt idx="17">
                  <c:v>98.26572965829658</c:v>
                </c:pt>
                <c:pt idx="18">
                  <c:v>98.18818646568684</c:v>
                </c:pt>
                <c:pt idx="19">
                  <c:v>98.10839141736656</c:v>
                </c:pt>
                <c:pt idx="20">
                  <c:v>98.02633661832503</c:v>
                </c:pt>
                <c:pt idx="21">
                  <c:v>97.9420179990387</c:v>
                </c:pt>
                <c:pt idx="22">
                  <c:v>97.85543505440012</c:v>
                </c:pt>
                <c:pt idx="23">
                  <c:v>97.76659059120966</c:v>
                </c:pt>
                <c:pt idx="24">
                  <c:v>95.80344141642857</c:v>
                </c:pt>
                <c:pt idx="25">
                  <c:v>93.92240543302415</c:v>
                </c:pt>
                <c:pt idx="26">
                  <c:v>92.12103222652284</c:v>
                </c:pt>
                <c:pt idx="27">
                  <c:v>90.39663405833713</c:v>
                </c:pt>
                <c:pt idx="28">
                  <c:v>90.6172480965818</c:v>
                </c:pt>
                <c:pt idx="29">
                  <c:v>90.83523664215882</c:v>
                </c:pt>
                <c:pt idx="30">
                  <c:v>91.05058258524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7.29</c:v>
                </c:pt>
                <c:pt idx="1">
                  <c:v>7.39</c:v>
                </c:pt>
                <c:pt idx="2">
                  <c:v>7.49</c:v>
                </c:pt>
                <c:pt idx="3">
                  <c:v>7.59</c:v>
                </c:pt>
                <c:pt idx="4">
                  <c:v>7.69</c:v>
                </c:pt>
                <c:pt idx="5">
                  <c:v>7.79</c:v>
                </c:pt>
                <c:pt idx="6">
                  <c:v>7.89</c:v>
                </c:pt>
                <c:pt idx="7">
                  <c:v>7.99</c:v>
                </c:pt>
                <c:pt idx="8">
                  <c:v>8.09</c:v>
                </c:pt>
                <c:pt idx="9">
                  <c:v>8.19</c:v>
                </c:pt>
                <c:pt idx="10">
                  <c:v>8.29</c:v>
                </c:pt>
                <c:pt idx="11">
                  <c:v>8.39</c:v>
                </c:pt>
                <c:pt idx="12">
                  <c:v>8.49</c:v>
                </c:pt>
                <c:pt idx="13">
                  <c:v>8.59</c:v>
                </c:pt>
                <c:pt idx="14">
                  <c:v>8.69</c:v>
                </c:pt>
                <c:pt idx="15">
                  <c:v>8.79</c:v>
                </c:pt>
                <c:pt idx="16">
                  <c:v>8.89</c:v>
                </c:pt>
                <c:pt idx="17">
                  <c:v>8.99</c:v>
                </c:pt>
                <c:pt idx="18">
                  <c:v>9.09</c:v>
                </c:pt>
                <c:pt idx="19">
                  <c:v>9.19</c:v>
                </c:pt>
                <c:pt idx="20">
                  <c:v>9.29</c:v>
                </c:pt>
                <c:pt idx="21">
                  <c:v>9.39</c:v>
                </c:pt>
                <c:pt idx="22">
                  <c:v>9.49</c:v>
                </c:pt>
                <c:pt idx="23">
                  <c:v>9.59</c:v>
                </c:pt>
                <c:pt idx="24">
                  <c:v>9.69</c:v>
                </c:pt>
                <c:pt idx="25">
                  <c:v>9.79</c:v>
                </c:pt>
                <c:pt idx="26">
                  <c:v>9.89</c:v>
                </c:pt>
                <c:pt idx="27">
                  <c:v>9.99</c:v>
                </c:pt>
                <c:pt idx="28">
                  <c:v>10.09</c:v>
                </c:pt>
                <c:pt idx="29">
                  <c:v>10.19</c:v>
                </c:pt>
                <c:pt idx="30">
                  <c:v>10.29</c:v>
                </c:pt>
              </c:strCache>
            </c:strRef>
          </c:cat>
          <c:val>
            <c:numRef>
              <c:f>Sheet1!$D$2:$D$32</c:f>
              <c:numCache>
                <c:formatCode>General</c:formatCode>
                <c:ptCount val="31"/>
                <c:pt idx="0">
                  <c:v>65.18214285176659</c:v>
                </c:pt>
                <c:pt idx="1">
                  <c:v>68.66248491275012</c:v>
                </c:pt>
                <c:pt idx="2">
                  <c:v>72.06203241937934</c:v>
                </c:pt>
                <c:pt idx="3">
                  <c:v>75.38346135552864</c:v>
                </c:pt>
                <c:pt idx="4">
                  <c:v>78.30341925924999</c:v>
                </c:pt>
                <c:pt idx="5">
                  <c:v>81.14496693339737</c:v>
                </c:pt>
                <c:pt idx="6">
                  <c:v>83.91197683682556</c:v>
                </c:pt>
                <c:pt idx="7">
                  <c:v>86.60796620718656</c:v>
                </c:pt>
                <c:pt idx="8">
                  <c:v>89.23614006701567</c:v>
                </c:pt>
                <c:pt idx="9">
                  <c:v>91.55862177922032</c:v>
                </c:pt>
                <c:pt idx="10">
                  <c:v>93.82787973509011</c:v>
                </c:pt>
                <c:pt idx="11">
                  <c:v>96.04609418346448</c:v>
                </c:pt>
                <c:pt idx="12">
                  <c:v>98.21515267767296</c:v>
                </c:pt>
                <c:pt idx="13">
                  <c:v>100.0</c:v>
                </c:pt>
                <c:pt idx="14">
                  <c:v>101.80222802361922</c:v>
                </c:pt>
                <c:pt idx="15">
                  <c:v>103.61385093607667</c:v>
                </c:pt>
                <c:pt idx="16">
                  <c:v>105.42864855504193</c:v>
                </c:pt>
                <c:pt idx="17">
                  <c:v>107.24180756367498</c:v>
                </c:pt>
                <c:pt idx="18">
                  <c:v>109.28198796263717</c:v>
                </c:pt>
                <c:pt idx="19">
                  <c:v>111.27048637192442</c:v>
                </c:pt>
                <c:pt idx="20">
                  <c:v>113.20872074585371</c:v>
                </c:pt>
                <c:pt idx="21">
                  <c:v>115.09805266894058</c:v>
                </c:pt>
                <c:pt idx="22">
                  <c:v>116.9397906122738</c:v>
                </c:pt>
                <c:pt idx="23">
                  <c:v>118.73519294763484</c:v>
                </c:pt>
                <c:pt idx="24">
                  <c:v>118.16260960594171</c:v>
                </c:pt>
                <c:pt idx="25">
                  <c:v>117.58207905297246</c:v>
                </c:pt>
                <c:pt idx="26">
                  <c:v>116.99835489132491</c:v>
                </c:pt>
                <c:pt idx="27">
                  <c:v>116.41539165981965</c:v>
                </c:pt>
                <c:pt idx="28">
                  <c:v>118.29301881169354</c:v>
                </c:pt>
                <c:pt idx="29">
                  <c:v>120.14397425286639</c:v>
                </c:pt>
                <c:pt idx="30">
                  <c:v>121.96877293326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7.29</c:v>
                </c:pt>
                <c:pt idx="1">
                  <c:v>7.39</c:v>
                </c:pt>
                <c:pt idx="2">
                  <c:v>7.49</c:v>
                </c:pt>
                <c:pt idx="3">
                  <c:v>7.59</c:v>
                </c:pt>
                <c:pt idx="4">
                  <c:v>7.69</c:v>
                </c:pt>
                <c:pt idx="5">
                  <c:v>7.79</c:v>
                </c:pt>
                <c:pt idx="6">
                  <c:v>7.89</c:v>
                </c:pt>
                <c:pt idx="7">
                  <c:v>7.99</c:v>
                </c:pt>
                <c:pt idx="8">
                  <c:v>8.09</c:v>
                </c:pt>
                <c:pt idx="9">
                  <c:v>8.19</c:v>
                </c:pt>
                <c:pt idx="10">
                  <c:v>8.29</c:v>
                </c:pt>
                <c:pt idx="11">
                  <c:v>8.39</c:v>
                </c:pt>
                <c:pt idx="12">
                  <c:v>8.49</c:v>
                </c:pt>
                <c:pt idx="13">
                  <c:v>8.59</c:v>
                </c:pt>
                <c:pt idx="14">
                  <c:v>8.69</c:v>
                </c:pt>
                <c:pt idx="15">
                  <c:v>8.79</c:v>
                </c:pt>
                <c:pt idx="16">
                  <c:v>8.89</c:v>
                </c:pt>
                <c:pt idx="17">
                  <c:v>8.99</c:v>
                </c:pt>
                <c:pt idx="18">
                  <c:v>9.09</c:v>
                </c:pt>
                <c:pt idx="19">
                  <c:v>9.19</c:v>
                </c:pt>
                <c:pt idx="20">
                  <c:v>9.29</c:v>
                </c:pt>
                <c:pt idx="21">
                  <c:v>9.39</c:v>
                </c:pt>
                <c:pt idx="22">
                  <c:v>9.49</c:v>
                </c:pt>
                <c:pt idx="23">
                  <c:v>9.59</c:v>
                </c:pt>
                <c:pt idx="24">
                  <c:v>9.69</c:v>
                </c:pt>
                <c:pt idx="25">
                  <c:v>9.79</c:v>
                </c:pt>
                <c:pt idx="26">
                  <c:v>9.89</c:v>
                </c:pt>
                <c:pt idx="27">
                  <c:v>9.99</c:v>
                </c:pt>
                <c:pt idx="28">
                  <c:v>10.09</c:v>
                </c:pt>
                <c:pt idx="29">
                  <c:v>10.19</c:v>
                </c:pt>
                <c:pt idx="30">
                  <c:v>10.29</c:v>
                </c:pt>
              </c:strCache>
            </c:strRef>
          </c:cat>
          <c:val>
            <c:numRef>
              <c:f>Sheet1!$E$2:$E$32</c:f>
              <c:numCache>
                <c:formatCode>General</c:formatCode>
                <c:ptCount val="31"/>
                <c:pt idx="0">
                  <c:v>0.20847757761174363</c:v>
                </c:pt>
                <c:pt idx="1">
                  <c:v>0.21918830051280255</c:v>
                </c:pt>
                <c:pt idx="2">
                  <c:v>0.22961302280235096</c:v>
                </c:pt>
                <c:pt idx="3">
                  <c:v>0.239763048852386</c:v>
                </c:pt>
                <c:pt idx="4">
                  <c:v>0.24964909503115845</c:v>
                </c:pt>
                <c:pt idx="5">
                  <c:v>0.25928132744410926</c:v>
                </c:pt>
                <c:pt idx="6">
                  <c:v>0.26866939680476676</c:v>
                </c:pt>
                <c:pt idx="7">
                  <c:v>0.27782247068705973</c:v>
                </c:pt>
                <c:pt idx="8">
                  <c:v>0.28674926338561296</c:v>
                </c:pt>
                <c:pt idx="9">
                  <c:v>0.29545806358847454</c:v>
                </c:pt>
                <c:pt idx="10">
                  <c:v>0.3039567600469976</c:v>
                </c:pt>
                <c:pt idx="11">
                  <c:v>0.3122528654099656</c:v>
                </c:pt>
                <c:pt idx="12">
                  <c:v>0.32035353837333463</c:v>
                </c:pt>
                <c:pt idx="13">
                  <c:v>0.32826560428284157</c:v>
                </c:pt>
                <c:pt idx="14">
                  <c:v>0.3359955743141091</c:v>
                </c:pt>
                <c:pt idx="15">
                  <c:v>0.34354966334352754</c:v>
                </c:pt>
                <c:pt idx="16">
                  <c:v>0.3509338066130044</c:v>
                </c:pt>
                <c:pt idx="17">
                  <c:v>0.3581536752824928</c:v>
                </c:pt>
                <c:pt idx="18">
                  <c:v>0.3652146909559524</c:v>
                </c:pt>
                <c:pt idx="19">
                  <c:v>0.3721220392589346</c:v>
                </c:pt>
                <c:pt idx="20">
                  <c:v>0.3788806825392474</c:v>
                </c:pt>
                <c:pt idx="21">
                  <c:v>0.3854953717560819</c:v>
                </c:pt>
                <c:pt idx="22">
                  <c:v>0.3919706576174508</c:v>
                </c:pt>
                <c:pt idx="23">
                  <c:v>0.39831090102081407</c:v>
                </c:pt>
                <c:pt idx="24">
                  <c:v>0.40452028284722463</c:v>
                </c:pt>
                <c:pt idx="25">
                  <c:v>0.41060281315522046</c:v>
                </c:pt>
                <c:pt idx="26">
                  <c:v>0.4165623398169475</c:v>
                </c:pt>
                <c:pt idx="27">
                  <c:v>0.4224025566355966</c:v>
                </c:pt>
                <c:pt idx="28">
                  <c:v>0.4281270109801397</c:v>
                </c:pt>
                <c:pt idx="29">
                  <c:v>0.43373911097052087</c:v>
                </c:pt>
                <c:pt idx="30">
                  <c:v>0.4392421322438880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B$2:$B$28</c:f>
              <c:numCache>
                <c:formatCode>General</c:formatCode>
                <c:ptCount val="27"/>
                <c:pt idx="0">
                  <c:v>121.29925109843987</c:v>
                </c:pt>
                <c:pt idx="1">
                  <c:v>119.99257400903156</c:v>
                </c:pt>
                <c:pt idx="2">
                  <c:v>118.7178337278875</c:v>
                </c:pt>
                <c:pt idx="3">
                  <c:v>117.47372004848475</c:v>
                </c:pt>
                <c:pt idx="4">
                  <c:v>114.45167875774254</c:v>
                </c:pt>
                <c:pt idx="5">
                  <c:v>111.53484816233092</c:v>
                </c:pt>
                <c:pt idx="6">
                  <c:v>108.93440129348322</c:v>
                </c:pt>
                <c:pt idx="7">
                  <c:v>106.51045293395262</c:v>
                </c:pt>
                <c:pt idx="8">
                  <c:v>104.24411354067453</c:v>
                </c:pt>
                <c:pt idx="9">
                  <c:v>102.11888119185828</c:v>
                </c:pt>
                <c:pt idx="10">
                  <c:v>101.05045902212343</c:v>
                </c:pt>
                <c:pt idx="11">
                  <c:v>100.0</c:v>
                </c:pt>
                <c:pt idx="12">
                  <c:v>98.96712259404312</c:v>
                </c:pt>
                <c:pt idx="13">
                  <c:v>97.95145217452732</c:v>
                </c:pt>
                <c:pt idx="14">
                  <c:v>96.29004449971394</c:v>
                </c:pt>
                <c:pt idx="15">
                  <c:v>94.68478957025623</c:v>
                </c:pt>
                <c:pt idx="16">
                  <c:v>93.13227877745167</c:v>
                </c:pt>
                <c:pt idx="17">
                  <c:v>91.62944866571667</c:v>
                </c:pt>
                <c:pt idx="18">
                  <c:v>90.17357787061066</c:v>
                </c:pt>
                <c:pt idx="19">
                  <c:v>87.58572507571391</c:v>
                </c:pt>
                <c:pt idx="20">
                  <c:v>85.13347049178678</c:v>
                </c:pt>
                <c:pt idx="21">
                  <c:v>82.8081872091037</c:v>
                </c:pt>
                <c:pt idx="22">
                  <c:v>80.60177941677827</c:v>
                </c:pt>
                <c:pt idx="23">
                  <c:v>79.48895087718766</c:v>
                </c:pt>
                <c:pt idx="24">
                  <c:v>78.44089877519515</c:v>
                </c:pt>
                <c:pt idx="25">
                  <c:v>77.45103178934009</c:v>
                </c:pt>
                <c:pt idx="26">
                  <c:v>76.513652487006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C$2:$C$28</c:f>
              <c:numCache>
                <c:formatCode>General</c:formatCode>
                <c:ptCount val="27"/>
                <c:pt idx="0">
                  <c:v>103.57543248267125</c:v>
                </c:pt>
                <c:pt idx="1">
                  <c:v>104.05450482056804</c:v>
                </c:pt>
                <c:pt idx="2">
                  <c:v>104.52663939593694</c:v>
                </c:pt>
                <c:pt idx="3">
                  <c:v>104.99195586887768</c:v>
                </c:pt>
                <c:pt idx="4">
                  <c:v>103.80802072861106</c:v>
                </c:pt>
                <c:pt idx="5">
                  <c:v>102.64143634674534</c:v>
                </c:pt>
                <c:pt idx="6">
                  <c:v>101.69567842690257</c:v>
                </c:pt>
                <c:pt idx="7">
                  <c:v>100.84832170478025</c:v>
                </c:pt>
                <c:pt idx="8">
                  <c:v>100.08818155300831</c:v>
                </c:pt>
                <c:pt idx="9">
                  <c:v>99.40540980987623</c:v>
                </c:pt>
                <c:pt idx="10">
                  <c:v>99.70799793789503</c:v>
                </c:pt>
                <c:pt idx="11">
                  <c:v>100.0</c:v>
                </c:pt>
                <c:pt idx="12">
                  <c:v>100.28175802379793</c:v>
                </c:pt>
                <c:pt idx="13">
                  <c:v>100.55360004504898</c:v>
                </c:pt>
                <c:pt idx="14">
                  <c:v>100.1263282411771</c:v>
                </c:pt>
                <c:pt idx="15">
                  <c:v>99.71431150029295</c:v>
                </c:pt>
                <c:pt idx="16">
                  <c:v>99.3161256580318</c:v>
                </c:pt>
                <c:pt idx="17">
                  <c:v>98.9305415269743</c:v>
                </c:pt>
                <c:pt idx="18">
                  <c:v>98.55654401239596</c:v>
                </c:pt>
                <c:pt idx="19">
                  <c:v>96.89559493727133</c:v>
                </c:pt>
                <c:pt idx="20">
                  <c:v>95.3179252889736</c:v>
                </c:pt>
                <c:pt idx="21">
                  <c:v>93.8191122296417</c:v>
                </c:pt>
                <c:pt idx="22">
                  <c:v>92.39489177697824</c:v>
                </c:pt>
                <c:pt idx="23">
                  <c:v>92.17798469090737</c:v>
                </c:pt>
                <c:pt idx="24">
                  <c:v>92.00730424035632</c:v>
                </c:pt>
                <c:pt idx="25">
                  <c:v>91.87762018954209</c:v>
                </c:pt>
                <c:pt idx="26">
                  <c:v>91.784423761239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D$2:$D$28</c:f>
              <c:numCache>
                <c:formatCode>General</c:formatCode>
                <c:ptCount val="27"/>
                <c:pt idx="0">
                  <c:v>53.934973423829526</c:v>
                </c:pt>
                <c:pt idx="1">
                  <c:v>59.42487787352682</c:v>
                </c:pt>
                <c:pt idx="2">
                  <c:v>64.79882766731589</c:v>
                </c:pt>
                <c:pt idx="3">
                  <c:v>70.06096924184023</c:v>
                </c:pt>
                <c:pt idx="4">
                  <c:v>74.03525501891382</c:v>
                </c:pt>
                <c:pt idx="5">
                  <c:v>77.7757446216772</c:v>
                </c:pt>
                <c:pt idx="6">
                  <c:v>81.45728257759511</c:v>
                </c:pt>
                <c:pt idx="7">
                  <c:v>85.01629397711415</c:v>
                </c:pt>
                <c:pt idx="8">
                  <c:v>88.46362301106953</c:v>
                </c:pt>
                <c:pt idx="9">
                  <c:v>91.80841746933389</c:v>
                </c:pt>
                <c:pt idx="10">
                  <c:v>95.94952685972208</c:v>
                </c:pt>
                <c:pt idx="11">
                  <c:v>100.0</c:v>
                </c:pt>
                <c:pt idx="12">
                  <c:v>103.96219823979582</c:v>
                </c:pt>
                <c:pt idx="13">
                  <c:v>107.83841134943066</c:v>
                </c:pt>
                <c:pt idx="14">
                  <c:v>110.86228951171609</c:v>
                </c:pt>
                <c:pt idx="15">
                  <c:v>113.78544013372837</c:v>
                </c:pt>
                <c:pt idx="16">
                  <c:v>116.6121528947813</c:v>
                </c:pt>
                <c:pt idx="17">
                  <c:v>119.34647379602721</c:v>
                </c:pt>
                <c:pt idx="18">
                  <c:v>121.99228912494289</c:v>
                </c:pt>
                <c:pt idx="19">
                  <c:v>122.89036961060337</c:v>
                </c:pt>
                <c:pt idx="20">
                  <c:v>123.72518290295864</c:v>
                </c:pt>
                <c:pt idx="21">
                  <c:v>124.50427028043096</c:v>
                </c:pt>
                <c:pt idx="22">
                  <c:v>125.23425023468675</c:v>
                </c:pt>
                <c:pt idx="23">
                  <c:v>127.50557177228058</c:v>
                </c:pt>
                <c:pt idx="24">
                  <c:v>129.7720575225493</c:v>
                </c:pt>
                <c:pt idx="25">
                  <c:v>132.03223800621157</c:v>
                </c:pt>
                <c:pt idx="26">
                  <c:v>134.284888310030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E$2:$E$28</c:f>
              <c:numCache>
                <c:formatCode>General</c:formatCode>
                <c:ptCount val="27"/>
                <c:pt idx="0">
                  <c:v>0.139566941530589</c:v>
                </c:pt>
                <c:pt idx="1">
                  <c:v>0.1530322476099227</c:v>
                </c:pt>
                <c:pt idx="2">
                  <c:v>0.16608259818604099</c:v>
                </c:pt>
                <c:pt idx="3">
                  <c:v>0.17873688349429556</c:v>
                </c:pt>
                <c:pt idx="4">
                  <c:v>0.19101286430902914</c:v>
                </c:pt>
                <c:pt idx="5">
                  <c:v>0.20292725511449244</c:v>
                </c:pt>
                <c:pt idx="6">
                  <c:v>0.21449580003300497</c:v>
                </c:pt>
                <c:pt idx="7">
                  <c:v>0.22573334223568026</c:v>
                </c:pt>
                <c:pt idx="8">
                  <c:v>0.23665388747918245</c:v>
                </c:pt>
                <c:pt idx="9">
                  <c:v>0.24727066234039013</c:v>
                </c:pt>
                <c:pt idx="10">
                  <c:v>0.2575961676580803</c:v>
                </c:pt>
                <c:pt idx="11">
                  <c:v>0.2676422276356433</c:v>
                </c:pt>
                <c:pt idx="12">
                  <c:v>0.27742003501033446</c:v>
                </c:pt>
                <c:pt idx="13">
                  <c:v>0.286940192651832</c:v>
                </c:pt>
                <c:pt idx="14">
                  <c:v>0.29621275191513713</c:v>
                </c:pt>
                <c:pt idx="15">
                  <c:v>0.30524724803946157</c:v>
                </c:pt>
                <c:pt idx="16">
                  <c:v>0.3140527328551846</c:v>
                </c:pt>
                <c:pt idx="17">
                  <c:v>0.32263780503471945</c:v>
                </c:pt>
                <c:pt idx="18">
                  <c:v>0.3310106380998027</c:v>
                </c:pt>
                <c:pt idx="19">
                  <c:v>0.3391790063769725</c:v>
                </c:pt>
                <c:pt idx="20">
                  <c:v>0.3471503090744759</c:v>
                </c:pt>
                <c:pt idx="21">
                  <c:v>0.3549315926373546</c:v>
                </c:pt>
                <c:pt idx="22">
                  <c:v>0.3625295715226627</c:v>
                </c:pt>
                <c:pt idx="23">
                  <c:v>0.36995064752356305</c:v>
                </c:pt>
                <c:pt idx="24">
                  <c:v>0.3772009277591951</c:v>
                </c:pt>
                <c:pt idx="25">
                  <c:v>0.3842862414365648</c:v>
                </c:pt>
                <c:pt idx="26">
                  <c:v>0.39121215548114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B$2:$B$28</c:f>
              <c:numCache>
                <c:formatCode>General</c:formatCode>
                <c:ptCount val="27"/>
                <c:pt idx="0">
                  <c:v>113.05408347887287</c:v>
                </c:pt>
                <c:pt idx="1">
                  <c:v>112.33301371047621</c:v>
                </c:pt>
                <c:pt idx="2">
                  <c:v>111.63111490354179</c:v>
                </c:pt>
                <c:pt idx="3">
                  <c:v>110.94721830241308</c:v>
                </c:pt>
                <c:pt idx="4">
                  <c:v>109.43814179482763</c:v>
                </c:pt>
                <c:pt idx="5">
                  <c:v>107.9743399871825</c:v>
                </c:pt>
                <c:pt idx="6">
                  <c:v>106.15681018309016</c:v>
                </c:pt>
                <c:pt idx="7">
                  <c:v>104.47188208651346</c:v>
                </c:pt>
                <c:pt idx="8">
                  <c:v>102.90505915369748</c:v>
                </c:pt>
                <c:pt idx="9">
                  <c:v>101.4434120878661</c:v>
                </c:pt>
                <c:pt idx="10">
                  <c:v>100.71611096026545</c:v>
                </c:pt>
                <c:pt idx="11">
                  <c:v>100.0</c:v>
                </c:pt>
                <c:pt idx="12">
                  <c:v>99.29480950148876</c:v>
                </c:pt>
                <c:pt idx="13">
                  <c:v>98.60027573592451</c:v>
                </c:pt>
                <c:pt idx="14">
                  <c:v>97.54420991540626</c:v>
                </c:pt>
                <c:pt idx="15">
                  <c:v>96.51938374030635</c:v>
                </c:pt>
                <c:pt idx="16">
                  <c:v>95.52415638494949</c:v>
                </c:pt>
                <c:pt idx="17">
                  <c:v>94.55699168398361</c:v>
                </c:pt>
                <c:pt idx="18">
                  <c:v>93.61645041556739</c:v>
                </c:pt>
                <c:pt idx="19">
                  <c:v>92.675597518863</c:v>
                </c:pt>
                <c:pt idx="20">
                  <c:v>91.76509554864977</c:v>
                </c:pt>
                <c:pt idx="21">
                  <c:v>90.88265111715333</c:v>
                </c:pt>
                <c:pt idx="22">
                  <c:v>90.02619573572466</c:v>
                </c:pt>
                <c:pt idx="23">
                  <c:v>89.28066490787462</c:v>
                </c:pt>
                <c:pt idx="24">
                  <c:v>88.5670278158248</c:v>
                </c:pt>
                <c:pt idx="25">
                  <c:v>87.88208954894</c:v>
                </c:pt>
                <c:pt idx="26">
                  <c:v>87.223154075735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C$2:$C$28</c:f>
              <c:numCache>
                <c:formatCode>General</c:formatCode>
                <c:ptCount val="27"/>
                <c:pt idx="0">
                  <c:v>97.12865032852567</c:v>
                </c:pt>
                <c:pt idx="1">
                  <c:v>97.95467800186164</c:v>
                </c:pt>
                <c:pt idx="2">
                  <c:v>98.77763604939015</c:v>
                </c:pt>
                <c:pt idx="3">
                  <c:v>99.59725104576933</c:v>
                </c:pt>
                <c:pt idx="4">
                  <c:v>99.63936691897626</c:v>
                </c:pt>
                <c:pt idx="5">
                  <c:v>99.68457127632958</c:v>
                </c:pt>
                <c:pt idx="6">
                  <c:v>99.36627040318716</c:v>
                </c:pt>
                <c:pt idx="7">
                  <c:v>99.12733584610206</c:v>
                </c:pt>
                <c:pt idx="8">
                  <c:v>98.95878434276102</c:v>
                </c:pt>
                <c:pt idx="9">
                  <c:v>98.8524468644264</c:v>
                </c:pt>
                <c:pt idx="10">
                  <c:v>99.43038030545756</c:v>
                </c:pt>
                <c:pt idx="11">
                  <c:v>100.0</c:v>
                </c:pt>
                <c:pt idx="12">
                  <c:v>100.56150012314224</c:v>
                </c:pt>
                <c:pt idx="13">
                  <c:v>101.1150655094953</c:v>
                </c:pt>
                <c:pt idx="14">
                  <c:v>101.27004410643184</c:v>
                </c:pt>
                <c:pt idx="15">
                  <c:v>101.43093615614676</c:v>
                </c:pt>
                <c:pt idx="16">
                  <c:v>101.59717176861196</c:v>
                </c:pt>
                <c:pt idx="17">
                  <c:v>101.76821253131514</c:v>
                </c:pt>
                <c:pt idx="18">
                  <c:v>101.94354951542542</c:v>
                </c:pt>
                <c:pt idx="19">
                  <c:v>102.09914771415039</c:v>
                </c:pt>
                <c:pt idx="20">
                  <c:v>102.26420911133106</c:v>
                </c:pt>
                <c:pt idx="21">
                  <c:v>102.43731910761757</c:v>
                </c:pt>
                <c:pt idx="22">
                  <c:v>102.61720379236911</c:v>
                </c:pt>
                <c:pt idx="23">
                  <c:v>102.90452953212868</c:v>
                </c:pt>
                <c:pt idx="24">
                  <c:v>103.20936191803382</c:v>
                </c:pt>
                <c:pt idx="25">
                  <c:v>103.52917494411507</c:v>
                </c:pt>
                <c:pt idx="26">
                  <c:v>103.861872548680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D$2:$D$28</c:f>
              <c:numCache>
                <c:formatCode>General</c:formatCode>
                <c:ptCount val="27"/>
                <c:pt idx="0">
                  <c:v>48.384040911454015</c:v>
                </c:pt>
                <c:pt idx="1">
                  <c:v>53.93453299554138</c:v>
                </c:pt>
                <c:pt idx="2">
                  <c:v>59.41856389852587</c:v>
                </c:pt>
                <c:pt idx="3">
                  <c:v>64.83853579699428</c:v>
                </c:pt>
                <c:pt idx="4">
                  <c:v>69.65029263199145</c:v>
                </c:pt>
                <c:pt idx="5">
                  <c:v>74.33369839093285</c:v>
                </c:pt>
                <c:pt idx="6">
                  <c:v>78.59384040573057</c:v>
                </c:pt>
                <c:pt idx="7">
                  <c:v>82.76874746837949</c:v>
                </c:pt>
                <c:pt idx="8">
                  <c:v>86.8670747046823</c:v>
                </c:pt>
                <c:pt idx="9">
                  <c:v>90.89581879873685</c:v>
                </c:pt>
                <c:pt idx="10">
                  <c:v>95.48068396480913</c:v>
                </c:pt>
                <c:pt idx="11">
                  <c:v>100.0</c:v>
                </c:pt>
                <c:pt idx="12">
                  <c:v>104.45527754031045</c:v>
                </c:pt>
                <c:pt idx="13">
                  <c:v>108.84797542529756</c:v>
                </c:pt>
                <c:pt idx="14">
                  <c:v>112.74194302809437</c:v>
                </c:pt>
                <c:pt idx="15">
                  <c:v>116.56286187979823</c:v>
                </c:pt>
                <c:pt idx="16">
                  <c:v>120.31361096411825</c:v>
                </c:pt>
                <c:pt idx="17">
                  <c:v>123.99685853604913</c:v>
                </c:pt>
                <c:pt idx="18">
                  <c:v>127.61507956853866</c:v>
                </c:pt>
                <c:pt idx="19">
                  <c:v>131.13421808214144</c:v>
                </c:pt>
                <c:pt idx="20">
                  <c:v>134.5995461901574</c:v>
                </c:pt>
                <c:pt idx="21">
                  <c:v>138.01234291809777</c:v>
                </c:pt>
                <c:pt idx="22">
                  <c:v>141.37376115981166</c:v>
                </c:pt>
                <c:pt idx="23">
                  <c:v>144.8247566650062</c:v>
                </c:pt>
                <c:pt idx="24">
                  <c:v>148.251648738182</c:v>
                </c:pt>
                <c:pt idx="25">
                  <c:v>151.653864983127</c:v>
                </c:pt>
                <c:pt idx="26">
                  <c:v>155.031063720998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E$2:$E$28</c:f>
              <c:numCache>
                <c:formatCode>General</c:formatCode>
                <c:ptCount val="27"/>
                <c:pt idx="0">
                  <c:v>0.13027335798246897</c:v>
                </c:pt>
                <c:pt idx="1">
                  <c:v>0.14388410355394843</c:v>
                </c:pt>
                <c:pt idx="2">
                  <c:v>0.1570754116655977</c:v>
                </c:pt>
                <c:pt idx="3">
                  <c:v>0.16986637658721243</c:v>
                </c:pt>
                <c:pt idx="4">
                  <c:v>0.18227495092821108</c:v>
                </c:pt>
                <c:pt idx="5">
                  <c:v>0.19431802970688228</c:v>
                </c:pt>
                <c:pt idx="6">
                  <c:v>0.20601152709865472</c:v>
                </c:pt>
                <c:pt idx="7">
                  <c:v>0.21737044659652785</c:v>
                </c:pt>
                <c:pt idx="8">
                  <c:v>0.22840894523409463</c:v>
                </c:pt>
                <c:pt idx="9">
                  <c:v>0.23914039244919766</c:v>
                </c:pt>
                <c:pt idx="10">
                  <c:v>0.24957742410284384</c:v>
                </c:pt>
                <c:pt idx="11">
                  <c:v>0.25973199211227765</c:v>
                </c:pt>
                <c:pt idx="12">
                  <c:v>0.2696154101081081</c:v>
                </c:pt>
                <c:pt idx="13">
                  <c:v>0.27923839548217794</c:v>
                </c:pt>
                <c:pt idx="14">
                  <c:v>0.28861110815471164</c:v>
                </c:pt>
                <c:pt idx="15">
                  <c:v>0.29774318635554975</c:v>
                </c:pt>
                <c:pt idx="16">
                  <c:v>0.30664377968437645</c:v>
                </c:pt>
                <c:pt idx="17">
                  <c:v>0.31532157968832697</c:v>
                </c:pt>
                <c:pt idx="18">
                  <c:v>0.3237848481717839</c:v>
                </c:pt>
                <c:pt idx="19">
                  <c:v>0.3320414434322016</c:v>
                </c:pt>
                <c:pt idx="20">
                  <c:v>0.3400988445970725</c:v>
                </c:pt>
                <c:pt idx="21">
                  <c:v>0.34796417422046866</c:v>
                </c:pt>
                <c:pt idx="22">
                  <c:v>0.35564421928265383</c:v>
                </c:pt>
                <c:pt idx="23">
                  <c:v>0.3631454507229022</c:v>
                </c:pt>
                <c:pt idx="24">
                  <c:v>0.3704740416236744</c:v>
                </c:pt>
                <c:pt idx="25">
                  <c:v>0.37763588415355304</c:v>
                </c:pt>
                <c:pt idx="26">
                  <c:v>0.38463660536667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2</c:f>
              <c:strCache>
                <c:ptCount val="71"/>
                <c:pt idx="0">
                  <c:v>16.99</c:v>
                </c:pt>
                <c:pt idx="1">
                  <c:v>17.09</c:v>
                </c:pt>
                <c:pt idx="2">
                  <c:v>17.19</c:v>
                </c:pt>
                <c:pt idx="3">
                  <c:v>17.29</c:v>
                </c:pt>
                <c:pt idx="4">
                  <c:v>17.39</c:v>
                </c:pt>
                <c:pt idx="5">
                  <c:v>17.49</c:v>
                </c:pt>
                <c:pt idx="6">
                  <c:v>17.59</c:v>
                </c:pt>
                <c:pt idx="7">
                  <c:v>17.69</c:v>
                </c:pt>
                <c:pt idx="8">
                  <c:v>17.79</c:v>
                </c:pt>
                <c:pt idx="9">
                  <c:v>17.89</c:v>
                </c:pt>
                <c:pt idx="10">
                  <c:v>17.99</c:v>
                </c:pt>
                <c:pt idx="11">
                  <c:v>18.09</c:v>
                </c:pt>
                <c:pt idx="12">
                  <c:v>18.19</c:v>
                </c:pt>
                <c:pt idx="13">
                  <c:v>18.29</c:v>
                </c:pt>
                <c:pt idx="14">
                  <c:v>18.39</c:v>
                </c:pt>
                <c:pt idx="15">
                  <c:v>18.49</c:v>
                </c:pt>
                <c:pt idx="16">
                  <c:v>18.59</c:v>
                </c:pt>
                <c:pt idx="17">
                  <c:v>18.69</c:v>
                </c:pt>
                <c:pt idx="18">
                  <c:v>18.79</c:v>
                </c:pt>
                <c:pt idx="19">
                  <c:v>18.89</c:v>
                </c:pt>
                <c:pt idx="20">
                  <c:v>18.99</c:v>
                </c:pt>
                <c:pt idx="21">
                  <c:v>19.09</c:v>
                </c:pt>
                <c:pt idx="22">
                  <c:v>19.19</c:v>
                </c:pt>
                <c:pt idx="23">
                  <c:v>19.29</c:v>
                </c:pt>
                <c:pt idx="24">
                  <c:v>19.39</c:v>
                </c:pt>
                <c:pt idx="25">
                  <c:v>19.49</c:v>
                </c:pt>
                <c:pt idx="26">
                  <c:v>19.59</c:v>
                </c:pt>
                <c:pt idx="27">
                  <c:v>19.69</c:v>
                </c:pt>
                <c:pt idx="28">
                  <c:v>19.79</c:v>
                </c:pt>
                <c:pt idx="29">
                  <c:v>19.89</c:v>
                </c:pt>
                <c:pt idx="30">
                  <c:v>19.99</c:v>
                </c:pt>
                <c:pt idx="31">
                  <c:v>20.09</c:v>
                </c:pt>
                <c:pt idx="32">
                  <c:v>20.19</c:v>
                </c:pt>
                <c:pt idx="33">
                  <c:v>20.29</c:v>
                </c:pt>
                <c:pt idx="34">
                  <c:v>20.39</c:v>
                </c:pt>
                <c:pt idx="35">
                  <c:v>20.49</c:v>
                </c:pt>
                <c:pt idx="36">
                  <c:v>20.59</c:v>
                </c:pt>
                <c:pt idx="37">
                  <c:v>20.69</c:v>
                </c:pt>
                <c:pt idx="38">
                  <c:v>20.79</c:v>
                </c:pt>
                <c:pt idx="39">
                  <c:v>20.89</c:v>
                </c:pt>
                <c:pt idx="40">
                  <c:v>20.99</c:v>
                </c:pt>
                <c:pt idx="41">
                  <c:v>21.09</c:v>
                </c:pt>
                <c:pt idx="42">
                  <c:v>21.19</c:v>
                </c:pt>
                <c:pt idx="43">
                  <c:v>21.29</c:v>
                </c:pt>
                <c:pt idx="44">
                  <c:v>21.39</c:v>
                </c:pt>
                <c:pt idx="45">
                  <c:v>21.49</c:v>
                </c:pt>
                <c:pt idx="46">
                  <c:v>21.59</c:v>
                </c:pt>
                <c:pt idx="47">
                  <c:v>21.69</c:v>
                </c:pt>
                <c:pt idx="48">
                  <c:v>21.79</c:v>
                </c:pt>
                <c:pt idx="49">
                  <c:v>21.89</c:v>
                </c:pt>
                <c:pt idx="50">
                  <c:v>21.99</c:v>
                </c:pt>
                <c:pt idx="51">
                  <c:v>22.09</c:v>
                </c:pt>
                <c:pt idx="52">
                  <c:v>22.19</c:v>
                </c:pt>
                <c:pt idx="53">
                  <c:v>22.29</c:v>
                </c:pt>
                <c:pt idx="54">
                  <c:v>22.39</c:v>
                </c:pt>
                <c:pt idx="55">
                  <c:v>22.49</c:v>
                </c:pt>
                <c:pt idx="56">
                  <c:v>22.59</c:v>
                </c:pt>
                <c:pt idx="57">
                  <c:v>22.69</c:v>
                </c:pt>
                <c:pt idx="58">
                  <c:v>22.79</c:v>
                </c:pt>
                <c:pt idx="59">
                  <c:v>22.89</c:v>
                </c:pt>
                <c:pt idx="60">
                  <c:v>22.99</c:v>
                </c:pt>
                <c:pt idx="61">
                  <c:v>23.09</c:v>
                </c:pt>
                <c:pt idx="62">
                  <c:v>23.19</c:v>
                </c:pt>
                <c:pt idx="63">
                  <c:v>23.29</c:v>
                </c:pt>
                <c:pt idx="64">
                  <c:v>23.39</c:v>
                </c:pt>
                <c:pt idx="65">
                  <c:v>23.49</c:v>
                </c:pt>
                <c:pt idx="66">
                  <c:v>23.59</c:v>
                </c:pt>
                <c:pt idx="67">
                  <c:v>23.69</c:v>
                </c:pt>
                <c:pt idx="68">
                  <c:v>23.79</c:v>
                </c:pt>
                <c:pt idx="69">
                  <c:v>23.89</c:v>
                </c:pt>
                <c:pt idx="70">
                  <c:v>23.99</c:v>
                </c:pt>
              </c:strCache>
            </c:strRef>
          </c:cat>
          <c:val>
            <c:numRef>
              <c:f>Sheet1!$B$2:$B$72</c:f>
              <c:numCache>
                <c:formatCode>General</c:formatCode>
                <c:ptCount val="71"/>
                <c:pt idx="0">
                  <c:v>111.15112628544148</c:v>
                </c:pt>
                <c:pt idx="1">
                  <c:v>110.74726933789243</c:v>
                </c:pt>
                <c:pt idx="2">
                  <c:v>110.34577799827639</c:v>
                </c:pt>
                <c:pt idx="3">
                  <c:v>109.9466357670041</c:v>
                </c:pt>
                <c:pt idx="4">
                  <c:v>109.54982623425353</c:v>
                </c:pt>
                <c:pt idx="5">
                  <c:v>109.15533308065008</c:v>
                </c:pt>
                <c:pt idx="6">
                  <c:v>108.7631400778962</c:v>
                </c:pt>
                <c:pt idx="7">
                  <c:v>108.37323108935799</c:v>
                </c:pt>
                <c:pt idx="8">
                  <c:v>107.985590070605</c:v>
                </c:pt>
                <c:pt idx="9">
                  <c:v>107.60020106990676</c:v>
                </c:pt>
                <c:pt idx="10">
                  <c:v>107.21704822868487</c:v>
                </c:pt>
                <c:pt idx="11">
                  <c:v>106.8361157819271</c:v>
                </c:pt>
                <c:pt idx="12">
                  <c:v>106.45738805855662</c:v>
                </c:pt>
                <c:pt idx="13">
                  <c:v>106.08084948176457</c:v>
                </c:pt>
                <c:pt idx="14">
                  <c:v>105.70648456930462</c:v>
                </c:pt>
                <c:pt idx="15">
                  <c:v>105.3342779337471</c:v>
                </c:pt>
                <c:pt idx="16">
                  <c:v>104.96421428270442</c:v>
                </c:pt>
                <c:pt idx="17">
                  <c:v>104.59627841901109</c:v>
                </c:pt>
                <c:pt idx="18">
                  <c:v>104.23045524088113</c:v>
                </c:pt>
                <c:pt idx="19">
                  <c:v>103.86672974202476</c:v>
                </c:pt>
                <c:pt idx="20">
                  <c:v>103.5050870117377</c:v>
                </c:pt>
                <c:pt idx="21">
                  <c:v>103.14551223495923</c:v>
                </c:pt>
                <c:pt idx="22">
                  <c:v>102.78799069229956</c:v>
                </c:pt>
                <c:pt idx="23">
                  <c:v>102.43250776004035</c:v>
                </c:pt>
                <c:pt idx="24">
                  <c:v>102.07904891010962</c:v>
                </c:pt>
                <c:pt idx="25">
                  <c:v>101.7275997100263</c:v>
                </c:pt>
                <c:pt idx="26">
                  <c:v>101.37814582282154</c:v>
                </c:pt>
                <c:pt idx="27">
                  <c:v>101.03067300693793</c:v>
                </c:pt>
                <c:pt idx="28">
                  <c:v>100.68516711610272</c:v>
                </c:pt>
                <c:pt idx="29">
                  <c:v>100.34161409917996</c:v>
                </c:pt>
                <c:pt idx="30">
                  <c:v>100.0</c:v>
                </c:pt>
                <c:pt idx="31">
                  <c:v>99.73628008722709</c:v>
                </c:pt>
                <c:pt idx="32">
                  <c:v>99.47350455795203</c:v>
                </c:pt>
                <c:pt idx="33">
                  <c:v>99.2116692386303</c:v>
                </c:pt>
                <c:pt idx="34">
                  <c:v>98.95076997654402</c:v>
                </c:pt>
                <c:pt idx="35">
                  <c:v>98.69080263969033</c:v>
                </c:pt>
                <c:pt idx="36">
                  <c:v>98.43176311667288</c:v>
                </c:pt>
                <c:pt idx="37">
                  <c:v>98.17364731659383</c:v>
                </c:pt>
                <c:pt idx="38">
                  <c:v>97.9164511689447</c:v>
                </c:pt>
                <c:pt idx="39">
                  <c:v>97.66017062349736</c:v>
                </c:pt>
                <c:pt idx="40">
                  <c:v>97.40480165019885</c:v>
                </c:pt>
                <c:pt idx="41">
                  <c:v>97.15034023906365</c:v>
                </c:pt>
                <c:pt idx="42">
                  <c:v>96.89678240006766</c:v>
                </c:pt>
                <c:pt idx="43">
                  <c:v>96.64412416304211</c:v>
                </c:pt>
                <c:pt idx="44">
                  <c:v>96.39236157756929</c:v>
                </c:pt>
                <c:pt idx="45">
                  <c:v>96.14149071287753</c:v>
                </c:pt>
                <c:pt idx="46">
                  <c:v>95.89150765773792</c:v>
                </c:pt>
                <c:pt idx="47">
                  <c:v>95.64240852035924</c:v>
                </c:pt>
                <c:pt idx="48">
                  <c:v>95.39418942828695</c:v>
                </c:pt>
                <c:pt idx="49">
                  <c:v>95.14684652829953</c:v>
                </c:pt>
                <c:pt idx="50">
                  <c:v>94.90037598630745</c:v>
                </c:pt>
                <c:pt idx="51">
                  <c:v>94.6547739872509</c:v>
                </c:pt>
                <c:pt idx="52">
                  <c:v>94.4100367349998</c:v>
                </c:pt>
                <c:pt idx="53">
                  <c:v>94.16616045225356</c:v>
                </c:pt>
                <c:pt idx="54">
                  <c:v>93.92314138044085</c:v>
                </c:pt>
                <c:pt idx="55">
                  <c:v>93.6809757796203</c:v>
                </c:pt>
                <c:pt idx="56">
                  <c:v>93.43965992838288</c:v>
                </c:pt>
                <c:pt idx="57">
                  <c:v>93.19919012375192</c:v>
                </c:pt>
                <c:pt idx="58">
                  <c:v>92.95956268108738</c:v>
                </c:pt>
                <c:pt idx="59">
                  <c:v>92.72077393398729</c:v>
                </c:pt>
                <c:pt idx="60">
                  <c:v>92.48282023419132</c:v>
                </c:pt>
                <c:pt idx="61">
                  <c:v>92.24569795148572</c:v>
                </c:pt>
                <c:pt idx="62">
                  <c:v>92.00940347360577</c:v>
                </c:pt>
                <c:pt idx="63">
                  <c:v>91.77393320614304</c:v>
                </c:pt>
                <c:pt idx="64">
                  <c:v>91.53928357244897</c:v>
                </c:pt>
                <c:pt idx="65">
                  <c:v>91.30545101354129</c:v>
                </c:pt>
                <c:pt idx="66">
                  <c:v>91.07243198800975</c:v>
                </c:pt>
                <c:pt idx="67">
                  <c:v>90.840222971925</c:v>
                </c:pt>
                <c:pt idx="68">
                  <c:v>90.60882045874405</c:v>
                </c:pt>
                <c:pt idx="69">
                  <c:v>90.37822095921825</c:v>
                </c:pt>
                <c:pt idx="70">
                  <c:v>90.148421001302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2</c:f>
              <c:strCache>
                <c:ptCount val="71"/>
                <c:pt idx="0">
                  <c:v>16.99</c:v>
                </c:pt>
                <c:pt idx="1">
                  <c:v>17.09</c:v>
                </c:pt>
                <c:pt idx="2">
                  <c:v>17.19</c:v>
                </c:pt>
                <c:pt idx="3">
                  <c:v>17.29</c:v>
                </c:pt>
                <c:pt idx="4">
                  <c:v>17.39</c:v>
                </c:pt>
                <c:pt idx="5">
                  <c:v>17.49</c:v>
                </c:pt>
                <c:pt idx="6">
                  <c:v>17.59</c:v>
                </c:pt>
                <c:pt idx="7">
                  <c:v>17.69</c:v>
                </c:pt>
                <c:pt idx="8">
                  <c:v>17.79</c:v>
                </c:pt>
                <c:pt idx="9">
                  <c:v>17.89</c:v>
                </c:pt>
                <c:pt idx="10">
                  <c:v>17.99</c:v>
                </c:pt>
                <c:pt idx="11">
                  <c:v>18.09</c:v>
                </c:pt>
                <c:pt idx="12">
                  <c:v>18.19</c:v>
                </c:pt>
                <c:pt idx="13">
                  <c:v>18.29</c:v>
                </c:pt>
                <c:pt idx="14">
                  <c:v>18.39</c:v>
                </c:pt>
                <c:pt idx="15">
                  <c:v>18.49</c:v>
                </c:pt>
                <c:pt idx="16">
                  <c:v>18.59</c:v>
                </c:pt>
                <c:pt idx="17">
                  <c:v>18.69</c:v>
                </c:pt>
                <c:pt idx="18">
                  <c:v>18.79</c:v>
                </c:pt>
                <c:pt idx="19">
                  <c:v>18.89</c:v>
                </c:pt>
                <c:pt idx="20">
                  <c:v>18.99</c:v>
                </c:pt>
                <c:pt idx="21">
                  <c:v>19.09</c:v>
                </c:pt>
                <c:pt idx="22">
                  <c:v>19.19</c:v>
                </c:pt>
                <c:pt idx="23">
                  <c:v>19.29</c:v>
                </c:pt>
                <c:pt idx="24">
                  <c:v>19.39</c:v>
                </c:pt>
                <c:pt idx="25">
                  <c:v>19.49</c:v>
                </c:pt>
                <c:pt idx="26">
                  <c:v>19.59</c:v>
                </c:pt>
                <c:pt idx="27">
                  <c:v>19.69</c:v>
                </c:pt>
                <c:pt idx="28">
                  <c:v>19.79</c:v>
                </c:pt>
                <c:pt idx="29">
                  <c:v>19.89</c:v>
                </c:pt>
                <c:pt idx="30">
                  <c:v>19.99</c:v>
                </c:pt>
                <c:pt idx="31">
                  <c:v>20.09</c:v>
                </c:pt>
                <c:pt idx="32">
                  <c:v>20.19</c:v>
                </c:pt>
                <c:pt idx="33">
                  <c:v>20.29</c:v>
                </c:pt>
                <c:pt idx="34">
                  <c:v>20.39</c:v>
                </c:pt>
                <c:pt idx="35">
                  <c:v>20.49</c:v>
                </c:pt>
                <c:pt idx="36">
                  <c:v>20.59</c:v>
                </c:pt>
                <c:pt idx="37">
                  <c:v>20.69</c:v>
                </c:pt>
                <c:pt idx="38">
                  <c:v>20.79</c:v>
                </c:pt>
                <c:pt idx="39">
                  <c:v>20.89</c:v>
                </c:pt>
                <c:pt idx="40">
                  <c:v>20.99</c:v>
                </c:pt>
                <c:pt idx="41">
                  <c:v>21.09</c:v>
                </c:pt>
                <c:pt idx="42">
                  <c:v>21.19</c:v>
                </c:pt>
                <c:pt idx="43">
                  <c:v>21.29</c:v>
                </c:pt>
                <c:pt idx="44">
                  <c:v>21.39</c:v>
                </c:pt>
                <c:pt idx="45">
                  <c:v>21.49</c:v>
                </c:pt>
                <c:pt idx="46">
                  <c:v>21.59</c:v>
                </c:pt>
                <c:pt idx="47">
                  <c:v>21.69</c:v>
                </c:pt>
                <c:pt idx="48">
                  <c:v>21.79</c:v>
                </c:pt>
                <c:pt idx="49">
                  <c:v>21.89</c:v>
                </c:pt>
                <c:pt idx="50">
                  <c:v>21.99</c:v>
                </c:pt>
                <c:pt idx="51">
                  <c:v>22.09</c:v>
                </c:pt>
                <c:pt idx="52">
                  <c:v>22.19</c:v>
                </c:pt>
                <c:pt idx="53">
                  <c:v>22.29</c:v>
                </c:pt>
                <c:pt idx="54">
                  <c:v>22.39</c:v>
                </c:pt>
                <c:pt idx="55">
                  <c:v>22.49</c:v>
                </c:pt>
                <c:pt idx="56">
                  <c:v>22.59</c:v>
                </c:pt>
                <c:pt idx="57">
                  <c:v>22.69</c:v>
                </c:pt>
                <c:pt idx="58">
                  <c:v>22.79</c:v>
                </c:pt>
                <c:pt idx="59">
                  <c:v>22.89</c:v>
                </c:pt>
                <c:pt idx="60">
                  <c:v>22.99</c:v>
                </c:pt>
                <c:pt idx="61">
                  <c:v>23.09</c:v>
                </c:pt>
                <c:pt idx="62">
                  <c:v>23.19</c:v>
                </c:pt>
                <c:pt idx="63">
                  <c:v>23.29</c:v>
                </c:pt>
                <c:pt idx="64">
                  <c:v>23.39</c:v>
                </c:pt>
                <c:pt idx="65">
                  <c:v>23.49</c:v>
                </c:pt>
                <c:pt idx="66">
                  <c:v>23.59</c:v>
                </c:pt>
                <c:pt idx="67">
                  <c:v>23.69</c:v>
                </c:pt>
                <c:pt idx="68">
                  <c:v>23.79</c:v>
                </c:pt>
                <c:pt idx="69">
                  <c:v>23.89</c:v>
                </c:pt>
                <c:pt idx="70">
                  <c:v>23.99</c:v>
                </c:pt>
              </c:strCache>
            </c:strRef>
          </c:cat>
          <c:val>
            <c:numRef>
              <c:f>Sheet1!$C$2:$C$72</c:f>
              <c:numCache>
                <c:formatCode>General</c:formatCode>
                <c:ptCount val="71"/>
                <c:pt idx="0">
                  <c:v>94.66583794339547</c:v>
                </c:pt>
                <c:pt idx="1">
                  <c:v>94.86973832151648</c:v>
                </c:pt>
                <c:pt idx="2">
                  <c:v>95.07165349811791</c:v>
                </c:pt>
                <c:pt idx="3">
                  <c:v>95.27160503520528</c:v>
                </c:pt>
                <c:pt idx="4">
                  <c:v>95.46961422972993</c:v>
                </c:pt>
                <c:pt idx="5">
                  <c:v>95.66570211677399</c:v>
                </c:pt>
                <c:pt idx="6">
                  <c:v>95.85988947270265</c:v>
                </c:pt>
                <c:pt idx="7">
                  <c:v>96.05219681828888</c:v>
                </c:pt>
                <c:pt idx="8">
                  <c:v>96.24264442180696</c:v>
                </c:pt>
                <c:pt idx="9">
                  <c:v>96.43125230209502</c:v>
                </c:pt>
                <c:pt idx="10">
                  <c:v>96.61804023158608</c:v>
                </c:pt>
                <c:pt idx="11">
                  <c:v>96.80302773930937</c:v>
                </c:pt>
                <c:pt idx="12">
                  <c:v>96.98623411385769</c:v>
                </c:pt>
                <c:pt idx="13">
                  <c:v>97.16767840632401</c:v>
                </c:pt>
                <c:pt idx="14">
                  <c:v>97.34737943320704</c:v>
                </c:pt>
                <c:pt idx="15">
                  <c:v>97.52535577928113</c:v>
                </c:pt>
                <c:pt idx="16">
                  <c:v>97.70162580044092</c:v>
                </c:pt>
                <c:pt idx="17">
                  <c:v>97.87620762650366</c:v>
                </c:pt>
                <c:pt idx="18">
                  <c:v>98.04911916398939</c:v>
                </c:pt>
                <c:pt idx="19">
                  <c:v>98.22037809886149</c:v>
                </c:pt>
                <c:pt idx="20">
                  <c:v>98.39000189923878</c:v>
                </c:pt>
                <c:pt idx="21">
                  <c:v>98.55800781807433</c:v>
                </c:pt>
                <c:pt idx="22">
                  <c:v>98.7244128958014</c:v>
                </c:pt>
                <c:pt idx="23">
                  <c:v>98.88923396294823</c:v>
                </c:pt>
                <c:pt idx="24">
                  <c:v>99.05248764272298</c:v>
                </c:pt>
                <c:pt idx="25">
                  <c:v>99.214190353563</c:v>
                </c:pt>
                <c:pt idx="26">
                  <c:v>99.37435831165399</c:v>
                </c:pt>
                <c:pt idx="27">
                  <c:v>99.53300753342133</c:v>
                </c:pt>
                <c:pt idx="28">
                  <c:v>99.69015383798556</c:v>
                </c:pt>
                <c:pt idx="29">
                  <c:v>99.84581284959101</c:v>
                </c:pt>
                <c:pt idx="30">
                  <c:v>100.0</c:v>
                </c:pt>
                <c:pt idx="31">
                  <c:v>100.22834632136947</c:v>
                </c:pt>
                <c:pt idx="32">
                  <c:v>100.45501741952268</c:v>
                </c:pt>
                <c:pt idx="33">
                  <c:v>100.680023619689</c:v>
                </c:pt>
                <c:pt idx="34">
                  <c:v>100.90337517737848</c:v>
                </c:pt>
                <c:pt idx="35">
                  <c:v>101.12508227889623</c:v>
                </c:pt>
                <c:pt idx="36">
                  <c:v>101.34515504185539</c:v>
                </c:pt>
                <c:pt idx="37">
                  <c:v>101.56360351568543</c:v>
                </c:pt>
                <c:pt idx="38">
                  <c:v>101.78043768213523</c:v>
                </c:pt>
                <c:pt idx="39">
                  <c:v>101.99566745577133</c:v>
                </c:pt>
                <c:pt idx="40">
                  <c:v>102.20930268447539</c:v>
                </c:pt>
                <c:pt idx="41">
                  <c:v>102.42135314993473</c:v>
                </c:pt>
                <c:pt idx="42">
                  <c:v>102.63182856812992</c:v>
                </c:pt>
                <c:pt idx="43">
                  <c:v>102.84073858981768</c:v>
                </c:pt>
                <c:pt idx="44">
                  <c:v>103.04809280101142</c:v>
                </c:pt>
                <c:pt idx="45">
                  <c:v>103.25390072345672</c:v>
                </c:pt>
                <c:pt idx="46">
                  <c:v>103.45817181510367</c:v>
                </c:pt>
                <c:pt idx="47">
                  <c:v>103.66091547057319</c:v>
                </c:pt>
                <c:pt idx="48">
                  <c:v>103.86214102162401</c:v>
                </c:pt>
                <c:pt idx="49">
                  <c:v>104.06185773761094</c:v>
                </c:pt>
                <c:pt idx="50">
                  <c:v>104.26007482594386</c:v>
                </c:pt>
                <c:pt idx="51">
                  <c:v>104.45680143253901</c:v>
                </c:pt>
                <c:pt idx="52">
                  <c:v>104.65204664226968</c:v>
                </c:pt>
                <c:pt idx="53">
                  <c:v>104.84581947941227</c:v>
                </c:pt>
                <c:pt idx="54">
                  <c:v>105.03812890808865</c:v>
                </c:pt>
                <c:pt idx="55">
                  <c:v>105.22898383270405</c:v>
                </c:pt>
                <c:pt idx="56">
                  <c:v>105.41839309838439</c:v>
                </c:pt>
                <c:pt idx="57">
                  <c:v>105.60636549140598</c:v>
                </c:pt>
                <c:pt idx="58">
                  <c:v>105.79290973962567</c:v>
                </c:pt>
                <c:pt idx="59">
                  <c:v>105.9780345129052</c:v>
                </c:pt>
                <c:pt idx="60">
                  <c:v>106.16174842353215</c:v>
                </c:pt>
                <c:pt idx="61">
                  <c:v>106.34406002664021</c:v>
                </c:pt>
                <c:pt idx="62">
                  <c:v>106.52497782062129</c:v>
                </c:pt>
                <c:pt idx="63">
                  <c:v>106.70451024754055</c:v>
                </c:pt>
                <c:pt idx="64">
                  <c:v>106.88266569354192</c:v>
                </c:pt>
                <c:pt idx="65">
                  <c:v>107.05945248925472</c:v>
                </c:pt>
                <c:pt idx="66">
                  <c:v>107.23487891019433</c:v>
                </c:pt>
                <c:pt idx="67">
                  <c:v>107.40895317716306</c:v>
                </c:pt>
                <c:pt idx="68">
                  <c:v>107.5816834566442</c:v>
                </c:pt>
                <c:pt idx="69">
                  <c:v>107.75307786119401</c:v>
                </c:pt>
                <c:pt idx="70">
                  <c:v>107.923144449832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2</c:f>
              <c:strCache>
                <c:ptCount val="71"/>
                <c:pt idx="0">
                  <c:v>16.99</c:v>
                </c:pt>
                <c:pt idx="1">
                  <c:v>17.09</c:v>
                </c:pt>
                <c:pt idx="2">
                  <c:v>17.19</c:v>
                </c:pt>
                <c:pt idx="3">
                  <c:v>17.29</c:v>
                </c:pt>
                <c:pt idx="4">
                  <c:v>17.39</c:v>
                </c:pt>
                <c:pt idx="5">
                  <c:v>17.49</c:v>
                </c:pt>
                <c:pt idx="6">
                  <c:v>17.59</c:v>
                </c:pt>
                <c:pt idx="7">
                  <c:v>17.69</c:v>
                </c:pt>
                <c:pt idx="8">
                  <c:v>17.79</c:v>
                </c:pt>
                <c:pt idx="9">
                  <c:v>17.89</c:v>
                </c:pt>
                <c:pt idx="10">
                  <c:v>17.99</c:v>
                </c:pt>
                <c:pt idx="11">
                  <c:v>18.09</c:v>
                </c:pt>
                <c:pt idx="12">
                  <c:v>18.19</c:v>
                </c:pt>
                <c:pt idx="13">
                  <c:v>18.29</c:v>
                </c:pt>
                <c:pt idx="14">
                  <c:v>18.39</c:v>
                </c:pt>
                <c:pt idx="15">
                  <c:v>18.49</c:v>
                </c:pt>
                <c:pt idx="16">
                  <c:v>18.59</c:v>
                </c:pt>
                <c:pt idx="17">
                  <c:v>18.69</c:v>
                </c:pt>
                <c:pt idx="18">
                  <c:v>18.79</c:v>
                </c:pt>
                <c:pt idx="19">
                  <c:v>18.89</c:v>
                </c:pt>
                <c:pt idx="20">
                  <c:v>18.99</c:v>
                </c:pt>
                <c:pt idx="21">
                  <c:v>19.09</c:v>
                </c:pt>
                <c:pt idx="22">
                  <c:v>19.19</c:v>
                </c:pt>
                <c:pt idx="23">
                  <c:v>19.29</c:v>
                </c:pt>
                <c:pt idx="24">
                  <c:v>19.39</c:v>
                </c:pt>
                <c:pt idx="25">
                  <c:v>19.49</c:v>
                </c:pt>
                <c:pt idx="26">
                  <c:v>19.59</c:v>
                </c:pt>
                <c:pt idx="27">
                  <c:v>19.69</c:v>
                </c:pt>
                <c:pt idx="28">
                  <c:v>19.79</c:v>
                </c:pt>
                <c:pt idx="29">
                  <c:v>19.89</c:v>
                </c:pt>
                <c:pt idx="30">
                  <c:v>19.99</c:v>
                </c:pt>
                <c:pt idx="31">
                  <c:v>20.09</c:v>
                </c:pt>
                <c:pt idx="32">
                  <c:v>20.19</c:v>
                </c:pt>
                <c:pt idx="33">
                  <c:v>20.29</c:v>
                </c:pt>
                <c:pt idx="34">
                  <c:v>20.39</c:v>
                </c:pt>
                <c:pt idx="35">
                  <c:v>20.49</c:v>
                </c:pt>
                <c:pt idx="36">
                  <c:v>20.59</c:v>
                </c:pt>
                <c:pt idx="37">
                  <c:v>20.69</c:v>
                </c:pt>
                <c:pt idx="38">
                  <c:v>20.79</c:v>
                </c:pt>
                <c:pt idx="39">
                  <c:v>20.89</c:v>
                </c:pt>
                <c:pt idx="40">
                  <c:v>20.99</c:v>
                </c:pt>
                <c:pt idx="41">
                  <c:v>21.09</c:v>
                </c:pt>
                <c:pt idx="42">
                  <c:v>21.19</c:v>
                </c:pt>
                <c:pt idx="43">
                  <c:v>21.29</c:v>
                </c:pt>
                <c:pt idx="44">
                  <c:v>21.39</c:v>
                </c:pt>
                <c:pt idx="45">
                  <c:v>21.49</c:v>
                </c:pt>
                <c:pt idx="46">
                  <c:v>21.59</c:v>
                </c:pt>
                <c:pt idx="47">
                  <c:v>21.69</c:v>
                </c:pt>
                <c:pt idx="48">
                  <c:v>21.79</c:v>
                </c:pt>
                <c:pt idx="49">
                  <c:v>21.89</c:v>
                </c:pt>
                <c:pt idx="50">
                  <c:v>21.99</c:v>
                </c:pt>
                <c:pt idx="51">
                  <c:v>22.09</c:v>
                </c:pt>
                <c:pt idx="52">
                  <c:v>22.19</c:v>
                </c:pt>
                <c:pt idx="53">
                  <c:v>22.29</c:v>
                </c:pt>
                <c:pt idx="54">
                  <c:v>22.39</c:v>
                </c:pt>
                <c:pt idx="55">
                  <c:v>22.49</c:v>
                </c:pt>
                <c:pt idx="56">
                  <c:v>22.59</c:v>
                </c:pt>
                <c:pt idx="57">
                  <c:v>22.69</c:v>
                </c:pt>
                <c:pt idx="58">
                  <c:v>22.79</c:v>
                </c:pt>
                <c:pt idx="59">
                  <c:v>22.89</c:v>
                </c:pt>
                <c:pt idx="60">
                  <c:v>22.99</c:v>
                </c:pt>
                <c:pt idx="61">
                  <c:v>23.09</c:v>
                </c:pt>
                <c:pt idx="62">
                  <c:v>23.19</c:v>
                </c:pt>
                <c:pt idx="63">
                  <c:v>23.29</c:v>
                </c:pt>
                <c:pt idx="64">
                  <c:v>23.39</c:v>
                </c:pt>
                <c:pt idx="65">
                  <c:v>23.49</c:v>
                </c:pt>
                <c:pt idx="66">
                  <c:v>23.59</c:v>
                </c:pt>
                <c:pt idx="67">
                  <c:v>23.69</c:v>
                </c:pt>
                <c:pt idx="68">
                  <c:v>23.79</c:v>
                </c:pt>
                <c:pt idx="69">
                  <c:v>23.89</c:v>
                </c:pt>
                <c:pt idx="70">
                  <c:v>23.99</c:v>
                </c:pt>
              </c:strCache>
            </c:strRef>
          </c:cat>
          <c:val>
            <c:numRef>
              <c:f>Sheet1!$D$2:$D$72</c:f>
              <c:numCache>
                <c:formatCode>General</c:formatCode>
                <c:ptCount val="71"/>
                <c:pt idx="0">
                  <c:v>78.09511520884524</c:v>
                </c:pt>
                <c:pt idx="1">
                  <c:v>78.89462385581108</c:v>
                </c:pt>
                <c:pt idx="2">
                  <c:v>79.68899529125781</c:v>
                </c:pt>
                <c:pt idx="3">
                  <c:v>80.47826950080562</c:v>
                </c:pt>
                <c:pt idx="4">
                  <c:v>81.26248617306912</c:v>
                </c:pt>
                <c:pt idx="5">
                  <c:v>82.04168470018632</c:v>
                </c:pt>
                <c:pt idx="6">
                  <c:v>82.8159041784168</c:v>
                </c:pt>
                <c:pt idx="7">
                  <c:v>83.58518340880077</c:v>
                </c:pt>
                <c:pt idx="8">
                  <c:v>84.34956089788031</c:v>
                </c:pt>
                <c:pt idx="9">
                  <c:v>85.10907485847969</c:v>
                </c:pt>
                <c:pt idx="10">
                  <c:v>85.86376321054368</c:v>
                </c:pt>
                <c:pt idx="11">
                  <c:v>86.61366358202733</c:v>
                </c:pt>
                <c:pt idx="12">
                  <c:v>87.35881330984269</c:v>
                </c:pt>
                <c:pt idx="13">
                  <c:v>88.09924944085299</c:v>
                </c:pt>
                <c:pt idx="14">
                  <c:v>88.83500873291524</c:v>
                </c:pt>
                <c:pt idx="15">
                  <c:v>89.5661276559727</c:v>
                </c:pt>
                <c:pt idx="16">
                  <c:v>90.29264239318383</c:v>
                </c:pt>
                <c:pt idx="17">
                  <c:v>91.01458884210498</c:v>
                </c:pt>
                <c:pt idx="18">
                  <c:v>91.73200261590188</c:v>
                </c:pt>
                <c:pt idx="19">
                  <c:v>92.4449190446077</c:v>
                </c:pt>
                <c:pt idx="20">
                  <c:v>93.15337317641436</c:v>
                </c:pt>
                <c:pt idx="21">
                  <c:v>93.85739977899841</c:v>
                </c:pt>
                <c:pt idx="22">
                  <c:v>94.55703334088216</c:v>
                </c:pt>
                <c:pt idx="23">
                  <c:v>95.25230807282465</c:v>
                </c:pt>
                <c:pt idx="24">
                  <c:v>95.94325790923963</c:v>
                </c:pt>
                <c:pt idx="25">
                  <c:v>96.6299165096471</c:v>
                </c:pt>
                <c:pt idx="26">
                  <c:v>97.31231726014803</c:v>
                </c:pt>
                <c:pt idx="27">
                  <c:v>97.9904932749218</c:v>
                </c:pt>
                <c:pt idx="28">
                  <c:v>98.66447739775055</c:v>
                </c:pt>
                <c:pt idx="29">
                  <c:v>99.33430220356288</c:v>
                </c:pt>
                <c:pt idx="30">
                  <c:v>100.0</c:v>
                </c:pt>
                <c:pt idx="31">
                  <c:v>100.58657101723989</c:v>
                </c:pt>
                <c:pt idx="32">
                  <c:v>101.17051392008831</c:v>
                </c:pt>
                <c:pt idx="33">
                  <c:v>101.7518417944581</c:v>
                </c:pt>
                <c:pt idx="34">
                  <c:v>102.33056765388588</c:v>
                </c:pt>
                <c:pt idx="35">
                  <c:v>102.90670443995755</c:v>
                </c:pt>
                <c:pt idx="36">
                  <c:v>103.48026502272793</c:v>
                </c:pt>
                <c:pt idx="37">
                  <c:v>104.05126220113887</c:v>
                </c:pt>
                <c:pt idx="38">
                  <c:v>104.61970870343593</c:v>
                </c:pt>
                <c:pt idx="39">
                  <c:v>105.18561718758312</c:v>
                </c:pt>
                <c:pt idx="40">
                  <c:v>105.74900024167235</c:v>
                </c:pt>
                <c:pt idx="41">
                  <c:v>106.309870384333</c:v>
                </c:pt>
                <c:pt idx="42">
                  <c:v>106.8682400651384</c:v>
                </c:pt>
                <c:pt idx="43">
                  <c:v>107.42412166501043</c:v>
                </c:pt>
                <c:pt idx="44">
                  <c:v>107.97752749662024</c:v>
                </c:pt>
                <c:pt idx="45">
                  <c:v>108.52846980478819</c:v>
                </c:pt>
                <c:pt idx="46">
                  <c:v>109.07696076687985</c:v>
                </c:pt>
                <c:pt idx="47">
                  <c:v>109.62301249320299</c:v>
                </c:pt>
                <c:pt idx="48">
                  <c:v>110.16663702739697</c:v>
                </c:pt>
                <c:pt idx="49">
                  <c:v>110.70784634682494</c:v>
                </c:pt>
                <c:pt idx="50">
                  <c:v>111.24665236296008</c:v>
                </c:pt>
                <c:pt idx="51">
                  <c:v>111.78306692177237</c:v>
                </c:pt>
                <c:pt idx="52">
                  <c:v>112.31710180411076</c:v>
                </c:pt>
                <c:pt idx="53">
                  <c:v>112.84876872608413</c:v>
                </c:pt>
                <c:pt idx="54">
                  <c:v>113.37807933944039</c:v>
                </c:pt>
                <c:pt idx="55">
                  <c:v>113.90504523194282</c:v>
                </c:pt>
                <c:pt idx="56">
                  <c:v>114.42967792774341</c:v>
                </c:pt>
                <c:pt idx="57">
                  <c:v>114.9519888877562</c:v>
                </c:pt>
                <c:pt idx="58">
                  <c:v>115.47198951002575</c:v>
                </c:pt>
                <c:pt idx="59">
                  <c:v>115.98969113009541</c:v>
                </c:pt>
                <c:pt idx="60">
                  <c:v>116.50510502137273</c:v>
                </c:pt>
                <c:pt idx="61">
                  <c:v>117.01824239549212</c:v>
                </c:pt>
                <c:pt idx="62">
                  <c:v>117.52911440267668</c:v>
                </c:pt>
                <c:pt idx="63">
                  <c:v>118.03773213209621</c:v>
                </c:pt>
                <c:pt idx="64">
                  <c:v>118.54410661222441</c:v>
                </c:pt>
                <c:pt idx="65">
                  <c:v>119.04824881119387</c:v>
                </c:pt>
                <c:pt idx="66">
                  <c:v>119.55016963714873</c:v>
                </c:pt>
                <c:pt idx="67">
                  <c:v>120.04987993859382</c:v>
                </c:pt>
                <c:pt idx="68">
                  <c:v>120.54739050474423</c:v>
                </c:pt>
                <c:pt idx="69">
                  <c:v>121.04271206587181</c:v>
                </c:pt>
                <c:pt idx="70">
                  <c:v>121.535855293648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2</c:f>
              <c:strCache>
                <c:ptCount val="71"/>
                <c:pt idx="0">
                  <c:v>16.99</c:v>
                </c:pt>
                <c:pt idx="1">
                  <c:v>17.09</c:v>
                </c:pt>
                <c:pt idx="2">
                  <c:v>17.19</c:v>
                </c:pt>
                <c:pt idx="3">
                  <c:v>17.29</c:v>
                </c:pt>
                <c:pt idx="4">
                  <c:v>17.39</c:v>
                </c:pt>
                <c:pt idx="5">
                  <c:v>17.49</c:v>
                </c:pt>
                <c:pt idx="6">
                  <c:v>17.59</c:v>
                </c:pt>
                <c:pt idx="7">
                  <c:v>17.69</c:v>
                </c:pt>
                <c:pt idx="8">
                  <c:v>17.79</c:v>
                </c:pt>
                <c:pt idx="9">
                  <c:v>17.89</c:v>
                </c:pt>
                <c:pt idx="10">
                  <c:v>17.99</c:v>
                </c:pt>
                <c:pt idx="11">
                  <c:v>18.09</c:v>
                </c:pt>
                <c:pt idx="12">
                  <c:v>18.19</c:v>
                </c:pt>
                <c:pt idx="13">
                  <c:v>18.29</c:v>
                </c:pt>
                <c:pt idx="14">
                  <c:v>18.39</c:v>
                </c:pt>
                <c:pt idx="15">
                  <c:v>18.49</c:v>
                </c:pt>
                <c:pt idx="16">
                  <c:v>18.59</c:v>
                </c:pt>
                <c:pt idx="17">
                  <c:v>18.69</c:v>
                </c:pt>
                <c:pt idx="18">
                  <c:v>18.79</c:v>
                </c:pt>
                <c:pt idx="19">
                  <c:v>18.89</c:v>
                </c:pt>
                <c:pt idx="20">
                  <c:v>18.99</c:v>
                </c:pt>
                <c:pt idx="21">
                  <c:v>19.09</c:v>
                </c:pt>
                <c:pt idx="22">
                  <c:v>19.19</c:v>
                </c:pt>
                <c:pt idx="23">
                  <c:v>19.29</c:v>
                </c:pt>
                <c:pt idx="24">
                  <c:v>19.39</c:v>
                </c:pt>
                <c:pt idx="25">
                  <c:v>19.49</c:v>
                </c:pt>
                <c:pt idx="26">
                  <c:v>19.59</c:v>
                </c:pt>
                <c:pt idx="27">
                  <c:v>19.69</c:v>
                </c:pt>
                <c:pt idx="28">
                  <c:v>19.79</c:v>
                </c:pt>
                <c:pt idx="29">
                  <c:v>19.89</c:v>
                </c:pt>
                <c:pt idx="30">
                  <c:v>19.99</c:v>
                </c:pt>
                <c:pt idx="31">
                  <c:v>20.09</c:v>
                </c:pt>
                <c:pt idx="32">
                  <c:v>20.19</c:v>
                </c:pt>
                <c:pt idx="33">
                  <c:v>20.29</c:v>
                </c:pt>
                <c:pt idx="34">
                  <c:v>20.39</c:v>
                </c:pt>
                <c:pt idx="35">
                  <c:v>20.49</c:v>
                </c:pt>
                <c:pt idx="36">
                  <c:v>20.59</c:v>
                </c:pt>
                <c:pt idx="37">
                  <c:v>20.69</c:v>
                </c:pt>
                <c:pt idx="38">
                  <c:v>20.79</c:v>
                </c:pt>
                <c:pt idx="39">
                  <c:v>20.89</c:v>
                </c:pt>
                <c:pt idx="40">
                  <c:v>20.99</c:v>
                </c:pt>
                <c:pt idx="41">
                  <c:v>21.09</c:v>
                </c:pt>
                <c:pt idx="42">
                  <c:v>21.19</c:v>
                </c:pt>
                <c:pt idx="43">
                  <c:v>21.29</c:v>
                </c:pt>
                <c:pt idx="44">
                  <c:v>21.39</c:v>
                </c:pt>
                <c:pt idx="45">
                  <c:v>21.49</c:v>
                </c:pt>
                <c:pt idx="46">
                  <c:v>21.59</c:v>
                </c:pt>
                <c:pt idx="47">
                  <c:v>21.69</c:v>
                </c:pt>
                <c:pt idx="48">
                  <c:v>21.79</c:v>
                </c:pt>
                <c:pt idx="49">
                  <c:v>21.89</c:v>
                </c:pt>
                <c:pt idx="50">
                  <c:v>21.99</c:v>
                </c:pt>
                <c:pt idx="51">
                  <c:v>22.09</c:v>
                </c:pt>
                <c:pt idx="52">
                  <c:v>22.19</c:v>
                </c:pt>
                <c:pt idx="53">
                  <c:v>22.29</c:v>
                </c:pt>
                <c:pt idx="54">
                  <c:v>22.39</c:v>
                </c:pt>
                <c:pt idx="55">
                  <c:v>22.49</c:v>
                </c:pt>
                <c:pt idx="56">
                  <c:v>22.59</c:v>
                </c:pt>
                <c:pt idx="57">
                  <c:v>22.69</c:v>
                </c:pt>
                <c:pt idx="58">
                  <c:v>22.79</c:v>
                </c:pt>
                <c:pt idx="59">
                  <c:v>22.89</c:v>
                </c:pt>
                <c:pt idx="60">
                  <c:v>22.99</c:v>
                </c:pt>
                <c:pt idx="61">
                  <c:v>23.09</c:v>
                </c:pt>
                <c:pt idx="62">
                  <c:v>23.19</c:v>
                </c:pt>
                <c:pt idx="63">
                  <c:v>23.29</c:v>
                </c:pt>
                <c:pt idx="64">
                  <c:v>23.39</c:v>
                </c:pt>
                <c:pt idx="65">
                  <c:v>23.49</c:v>
                </c:pt>
                <c:pt idx="66">
                  <c:v>23.59</c:v>
                </c:pt>
                <c:pt idx="67">
                  <c:v>23.69</c:v>
                </c:pt>
                <c:pt idx="68">
                  <c:v>23.79</c:v>
                </c:pt>
                <c:pt idx="69">
                  <c:v>23.89</c:v>
                </c:pt>
                <c:pt idx="70">
                  <c:v>23.99</c:v>
                </c:pt>
              </c:strCache>
            </c:strRef>
          </c:cat>
          <c:val>
            <c:numRef>
              <c:f>Sheet1!$E$2:$E$72</c:f>
              <c:numCache>
                <c:formatCode>General</c:formatCode>
                <c:ptCount val="71"/>
                <c:pt idx="0">
                  <c:v>-1.984810837772627</c:v>
                </c:pt>
                <c:pt idx="1">
                  <c:v>-1.9673455900384391</c:v>
                </c:pt>
                <c:pt idx="2">
                  <c:v>-1.9500835447211706</c:v>
                </c:pt>
                <c:pt idx="3">
                  <c:v>-1.9330211760414653</c:v>
                </c:pt>
                <c:pt idx="4">
                  <c:v>-1.9161550393189732</c:v>
                </c:pt>
                <c:pt idx="5">
                  <c:v>-1.8994817686539125</c:v>
                </c:pt>
                <c:pt idx="6">
                  <c:v>-1.8829980746877155</c:v>
                </c:pt>
                <c:pt idx="7">
                  <c:v>-1.866700742439623</c:v>
                </c:pt>
                <c:pt idx="8">
                  <c:v>-1.8505866292162412</c:v>
                </c:pt>
                <c:pt idx="9">
                  <c:v>-1.8346526625912207</c:v>
                </c:pt>
                <c:pt idx="10">
                  <c:v>-1.8188958384523015</c:v>
                </c:pt>
                <c:pt idx="11">
                  <c:v>-1.8033132191131522</c:v>
                </c:pt>
                <c:pt idx="12">
                  <c:v>-1.7879019314874625</c:v>
                </c:pt>
                <c:pt idx="13">
                  <c:v>-1.7726591653229589</c:v>
                </c:pt>
                <c:pt idx="14">
                  <c:v>-1.7575821714930353</c:v>
                </c:pt>
                <c:pt idx="15">
                  <c:v>-1.742668260343803</c:v>
                </c:pt>
                <c:pt idx="16">
                  <c:v>-1.727914800094508</c:v>
                </c:pt>
                <c:pt idx="17">
                  <c:v>-1.7133192152892953</c:v>
                </c:pt>
                <c:pt idx="18">
                  <c:v>-1.6988789852983996</c:v>
                </c:pt>
                <c:pt idx="19">
                  <c:v>-1.6845916428669634</c:v>
                </c:pt>
                <c:pt idx="20">
                  <c:v>-1.6704547727096857</c:v>
                </c:pt>
                <c:pt idx="21">
                  <c:v>-1.6564660101496556</c:v>
                </c:pt>
                <c:pt idx="22">
                  <c:v>-1.6426230397997363</c:v>
                </c:pt>
                <c:pt idx="23">
                  <c:v>-1.6289235942849618</c:v>
                </c:pt>
                <c:pt idx="24">
                  <c:v>-1.6153654530044819</c:v>
                </c:pt>
                <c:pt idx="25">
                  <c:v>-1.6019464409316015</c:v>
                </c:pt>
                <c:pt idx="26">
                  <c:v>-1.5886644274505834</c:v>
                </c:pt>
                <c:pt idx="27">
                  <c:v>-1.5755173252288939</c:v>
                </c:pt>
                <c:pt idx="28">
                  <c:v>-1.5625030891236447</c:v>
                </c:pt>
                <c:pt idx="29">
                  <c:v>-1.5496197151210116</c:v>
                </c:pt>
                <c:pt idx="30">
                  <c:v>-1.5368652393074995</c:v>
                </c:pt>
                <c:pt idx="31">
                  <c:v>-1.524237736871922</c:v>
                </c:pt>
                <c:pt idx="32">
                  <c:v>-1.511735321137045</c:v>
                </c:pt>
                <c:pt idx="33">
                  <c:v>-1.4993561426198585</c:v>
                </c:pt>
                <c:pt idx="34">
                  <c:v>-1.4870983881195154</c:v>
                </c:pt>
                <c:pt idx="35">
                  <c:v>-1.4749602798319623</c:v>
                </c:pt>
                <c:pt idx="36">
                  <c:v>-1.4629400744903789</c:v>
                </c:pt>
                <c:pt idx="37">
                  <c:v>-1.451036062530543</c:v>
                </c:pt>
                <c:pt idx="38">
                  <c:v>-1.4392465672802748</c:v>
                </c:pt>
                <c:pt idx="39">
                  <c:v>-1.4275699441721836</c:v>
                </c:pt>
                <c:pt idx="40">
                  <c:v>-1.416004579978891</c:v>
                </c:pt>
                <c:pt idx="41">
                  <c:v>-1.40454889207003</c:v>
                </c:pt>
                <c:pt idx="42">
                  <c:v>-1.3932013276902753</c:v>
                </c:pt>
                <c:pt idx="43">
                  <c:v>-1.3819603632577233</c:v>
                </c:pt>
                <c:pt idx="44">
                  <c:v>-1.3708245036819506</c:v>
                </c:pt>
                <c:pt idx="45">
                  <c:v>-1.3597922817011125</c:v>
                </c:pt>
                <c:pt idx="46">
                  <c:v>-1.348862257237468</c:v>
                </c:pt>
                <c:pt idx="47">
                  <c:v>-1.3380330167707208</c:v>
                </c:pt>
                <c:pt idx="48">
                  <c:v>-1.3273031727286335</c:v>
                </c:pt>
                <c:pt idx="49">
                  <c:v>-1.3166713628943316</c:v>
                </c:pt>
                <c:pt idx="50">
                  <c:v>-1.3061362498297824</c:v>
                </c:pt>
                <c:pt idx="51">
                  <c:v>-1.2956965203149353</c:v>
                </c:pt>
                <c:pt idx="52">
                  <c:v>-1.2853508848020243</c:v>
                </c:pt>
                <c:pt idx="53">
                  <c:v>-1.2750980768845643</c:v>
                </c:pt>
                <c:pt idx="54">
                  <c:v>-1.2649368527805687</c:v>
                </c:pt>
                <c:pt idx="55">
                  <c:v>-1.2548659908295654</c:v>
                </c:pt>
                <c:pt idx="56">
                  <c:v>-1.2448842910029623</c:v>
                </c:pt>
                <c:pt idx="57">
                  <c:v>-1.2349905744273655</c:v>
                </c:pt>
                <c:pt idx="58">
                  <c:v>-1.2251836829204439</c:v>
                </c:pt>
                <c:pt idx="59">
                  <c:v>-1.215462478538965</c:v>
                </c:pt>
                <c:pt idx="60">
                  <c:v>-1.2058258431386222</c:v>
                </c:pt>
                <c:pt idx="61">
                  <c:v>-1.196272677945297</c:v>
                </c:pt>
                <c:pt idx="62">
                  <c:v>-1.1868019031374266</c:v>
                </c:pt>
                <c:pt idx="63">
                  <c:v>-1.177412457439112</c:v>
                </c:pt>
                <c:pt idx="64">
                  <c:v>-1.1681032977236818</c:v>
                </c:pt>
                <c:pt idx="65">
                  <c:v>-1.15887339862737</c:v>
                </c:pt>
                <c:pt idx="66">
                  <c:v>-1.1497217521728234</c:v>
                </c:pt>
                <c:pt idx="67">
                  <c:v>-1.1406473674021491</c:v>
                </c:pt>
                <c:pt idx="68">
                  <c:v>-1.1316492700192058</c:v>
                </c:pt>
                <c:pt idx="69">
                  <c:v>-1.122726502040892</c:v>
                </c:pt>
                <c:pt idx="70">
                  <c:v>-1.113878121457145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2.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7</c:f>
              <c:strCache>
                <c:ptCount val="106"/>
                <c:pt idx="0">
                  <c:v>25.49</c:v>
                </c:pt>
                <c:pt idx="1">
                  <c:v>25.59</c:v>
                </c:pt>
                <c:pt idx="2">
                  <c:v>25.69</c:v>
                </c:pt>
                <c:pt idx="3">
                  <c:v>25.79</c:v>
                </c:pt>
                <c:pt idx="4">
                  <c:v>25.89</c:v>
                </c:pt>
                <c:pt idx="5">
                  <c:v>25.99</c:v>
                </c:pt>
                <c:pt idx="6">
                  <c:v>26.09</c:v>
                </c:pt>
                <c:pt idx="7">
                  <c:v>26.19</c:v>
                </c:pt>
                <c:pt idx="8">
                  <c:v>26.29</c:v>
                </c:pt>
                <c:pt idx="9">
                  <c:v>26.39</c:v>
                </c:pt>
                <c:pt idx="10">
                  <c:v>26.49</c:v>
                </c:pt>
                <c:pt idx="11">
                  <c:v>26.59</c:v>
                </c:pt>
                <c:pt idx="12">
                  <c:v>26.69</c:v>
                </c:pt>
                <c:pt idx="13">
                  <c:v>26.79</c:v>
                </c:pt>
                <c:pt idx="14">
                  <c:v>26.89</c:v>
                </c:pt>
                <c:pt idx="15">
                  <c:v>26.99</c:v>
                </c:pt>
                <c:pt idx="16">
                  <c:v>27.09</c:v>
                </c:pt>
                <c:pt idx="17">
                  <c:v>27.19</c:v>
                </c:pt>
                <c:pt idx="18">
                  <c:v>27.29</c:v>
                </c:pt>
                <c:pt idx="19">
                  <c:v>27.39</c:v>
                </c:pt>
                <c:pt idx="20">
                  <c:v>27.49</c:v>
                </c:pt>
                <c:pt idx="21">
                  <c:v>27.59</c:v>
                </c:pt>
                <c:pt idx="22">
                  <c:v>27.69</c:v>
                </c:pt>
                <c:pt idx="23">
                  <c:v>27.79</c:v>
                </c:pt>
                <c:pt idx="24">
                  <c:v>27.89</c:v>
                </c:pt>
                <c:pt idx="25">
                  <c:v>27.99</c:v>
                </c:pt>
                <c:pt idx="26">
                  <c:v>28.09</c:v>
                </c:pt>
                <c:pt idx="27">
                  <c:v>28.19</c:v>
                </c:pt>
                <c:pt idx="28">
                  <c:v>28.29</c:v>
                </c:pt>
                <c:pt idx="29">
                  <c:v>28.39</c:v>
                </c:pt>
                <c:pt idx="30">
                  <c:v>28.49</c:v>
                </c:pt>
                <c:pt idx="31">
                  <c:v>28.59</c:v>
                </c:pt>
                <c:pt idx="32">
                  <c:v>28.69</c:v>
                </c:pt>
                <c:pt idx="33">
                  <c:v>28.79</c:v>
                </c:pt>
                <c:pt idx="34">
                  <c:v>28.89</c:v>
                </c:pt>
                <c:pt idx="35">
                  <c:v>28.99</c:v>
                </c:pt>
                <c:pt idx="36">
                  <c:v>29.09</c:v>
                </c:pt>
                <c:pt idx="37">
                  <c:v>29.19</c:v>
                </c:pt>
                <c:pt idx="38">
                  <c:v>29.29</c:v>
                </c:pt>
                <c:pt idx="39">
                  <c:v>29.39</c:v>
                </c:pt>
                <c:pt idx="40">
                  <c:v>29.49</c:v>
                </c:pt>
                <c:pt idx="41">
                  <c:v>29.59</c:v>
                </c:pt>
                <c:pt idx="42">
                  <c:v>29.69</c:v>
                </c:pt>
                <c:pt idx="43">
                  <c:v>29.79</c:v>
                </c:pt>
                <c:pt idx="44">
                  <c:v>29.89</c:v>
                </c:pt>
                <c:pt idx="45">
                  <c:v>29.99</c:v>
                </c:pt>
                <c:pt idx="46">
                  <c:v>30.09</c:v>
                </c:pt>
                <c:pt idx="47">
                  <c:v>30.19</c:v>
                </c:pt>
                <c:pt idx="48">
                  <c:v>30.29</c:v>
                </c:pt>
                <c:pt idx="49">
                  <c:v>30.39</c:v>
                </c:pt>
                <c:pt idx="50">
                  <c:v>30.49</c:v>
                </c:pt>
                <c:pt idx="51">
                  <c:v>30.59</c:v>
                </c:pt>
                <c:pt idx="52">
                  <c:v>30.69</c:v>
                </c:pt>
                <c:pt idx="53">
                  <c:v>30.79</c:v>
                </c:pt>
                <c:pt idx="54">
                  <c:v>30.89</c:v>
                </c:pt>
                <c:pt idx="55">
                  <c:v>30.99</c:v>
                </c:pt>
                <c:pt idx="56">
                  <c:v>31.09</c:v>
                </c:pt>
                <c:pt idx="57">
                  <c:v>31.19</c:v>
                </c:pt>
                <c:pt idx="58">
                  <c:v>31.29</c:v>
                </c:pt>
                <c:pt idx="59">
                  <c:v>31.39</c:v>
                </c:pt>
                <c:pt idx="60">
                  <c:v>31.49</c:v>
                </c:pt>
                <c:pt idx="61">
                  <c:v>31.59</c:v>
                </c:pt>
                <c:pt idx="62">
                  <c:v>31.69</c:v>
                </c:pt>
                <c:pt idx="63">
                  <c:v>31.79</c:v>
                </c:pt>
                <c:pt idx="64">
                  <c:v>31.89</c:v>
                </c:pt>
                <c:pt idx="65">
                  <c:v>31.99</c:v>
                </c:pt>
                <c:pt idx="66">
                  <c:v>32.09</c:v>
                </c:pt>
                <c:pt idx="67">
                  <c:v>32.19</c:v>
                </c:pt>
                <c:pt idx="68">
                  <c:v>32.29</c:v>
                </c:pt>
                <c:pt idx="69">
                  <c:v>32.39</c:v>
                </c:pt>
                <c:pt idx="70">
                  <c:v>32.49</c:v>
                </c:pt>
                <c:pt idx="71">
                  <c:v>32.59</c:v>
                </c:pt>
                <c:pt idx="72">
                  <c:v>32.69</c:v>
                </c:pt>
                <c:pt idx="73">
                  <c:v>32.79</c:v>
                </c:pt>
                <c:pt idx="74">
                  <c:v>32.89</c:v>
                </c:pt>
                <c:pt idx="75">
                  <c:v>32.99</c:v>
                </c:pt>
                <c:pt idx="76">
                  <c:v>33.09</c:v>
                </c:pt>
                <c:pt idx="77">
                  <c:v>33.19</c:v>
                </c:pt>
                <c:pt idx="78">
                  <c:v>33.29</c:v>
                </c:pt>
                <c:pt idx="79">
                  <c:v>33.39</c:v>
                </c:pt>
                <c:pt idx="80">
                  <c:v>33.49</c:v>
                </c:pt>
                <c:pt idx="81">
                  <c:v>33.59</c:v>
                </c:pt>
                <c:pt idx="82">
                  <c:v>33.69</c:v>
                </c:pt>
                <c:pt idx="83">
                  <c:v>33.79</c:v>
                </c:pt>
                <c:pt idx="84">
                  <c:v>33.89</c:v>
                </c:pt>
                <c:pt idx="85">
                  <c:v>33.99</c:v>
                </c:pt>
                <c:pt idx="86">
                  <c:v>34.09</c:v>
                </c:pt>
                <c:pt idx="87">
                  <c:v>34.19</c:v>
                </c:pt>
                <c:pt idx="88">
                  <c:v>34.29</c:v>
                </c:pt>
                <c:pt idx="89">
                  <c:v>34.39</c:v>
                </c:pt>
                <c:pt idx="90">
                  <c:v>34.49</c:v>
                </c:pt>
                <c:pt idx="91">
                  <c:v>34.59</c:v>
                </c:pt>
                <c:pt idx="92">
                  <c:v>34.69</c:v>
                </c:pt>
                <c:pt idx="93">
                  <c:v>34.79</c:v>
                </c:pt>
                <c:pt idx="94">
                  <c:v>34.89</c:v>
                </c:pt>
                <c:pt idx="95">
                  <c:v>34.99</c:v>
                </c:pt>
                <c:pt idx="96">
                  <c:v>35.09</c:v>
                </c:pt>
                <c:pt idx="97">
                  <c:v>35.19</c:v>
                </c:pt>
                <c:pt idx="98">
                  <c:v>35.29</c:v>
                </c:pt>
                <c:pt idx="99">
                  <c:v>35.39</c:v>
                </c:pt>
                <c:pt idx="100">
                  <c:v>35.49</c:v>
                </c:pt>
                <c:pt idx="101">
                  <c:v>35.59</c:v>
                </c:pt>
                <c:pt idx="102">
                  <c:v>35.69</c:v>
                </c:pt>
                <c:pt idx="103">
                  <c:v>35.79</c:v>
                </c:pt>
                <c:pt idx="104">
                  <c:v>35.89</c:v>
                </c:pt>
                <c:pt idx="105">
                  <c:v>35.99</c:v>
                </c:pt>
              </c:strCache>
            </c:strRef>
          </c:cat>
          <c:val>
            <c:numRef>
              <c:f>Sheet1!$B$2:$B$107</c:f>
              <c:numCache>
                <c:formatCode>General</c:formatCode>
                <c:ptCount val="106"/>
                <c:pt idx="0">
                  <c:v>112.49461970499046</c:v>
                </c:pt>
                <c:pt idx="1">
                  <c:v>112.19559743472412</c:v>
                </c:pt>
                <c:pt idx="2">
                  <c:v>111.89760183806396</c:v>
                </c:pt>
                <c:pt idx="3">
                  <c:v>111.6006288715753</c:v>
                </c:pt>
                <c:pt idx="4">
                  <c:v>111.30467450809654</c:v>
                </c:pt>
                <c:pt idx="5">
                  <c:v>111.0097347366788</c:v>
                </c:pt>
                <c:pt idx="6">
                  <c:v>110.71580556252553</c:v>
                </c:pt>
                <c:pt idx="7">
                  <c:v>110.42288300693133</c:v>
                </c:pt>
                <c:pt idx="8">
                  <c:v>110.13096310722388</c:v>
                </c:pt>
                <c:pt idx="9">
                  <c:v>109.84004191670209</c:v>
                </c:pt>
                <c:pt idx="10">
                  <c:v>109.55011550457758</c:v>
                </c:pt>
                <c:pt idx="11">
                  <c:v>109.26117995591495</c:v>
                </c:pt>
                <c:pt idx="12">
                  <c:v>108.97323137157161</c:v>
                </c:pt>
                <c:pt idx="13">
                  <c:v>108.68626586813896</c:v>
                </c:pt>
                <c:pt idx="14">
                  <c:v>108.40027957788374</c:v>
                </c:pt>
                <c:pt idx="15">
                  <c:v>108.11526864868783</c:v>
                </c:pt>
                <c:pt idx="16">
                  <c:v>107.83122924399116</c:v>
                </c:pt>
                <c:pt idx="17">
                  <c:v>107.54815754273022</c:v>
                </c:pt>
                <c:pt idx="18">
                  <c:v>107.26604973928258</c:v>
                </c:pt>
                <c:pt idx="19">
                  <c:v>106.98490204340733</c:v>
                </c:pt>
                <c:pt idx="20">
                  <c:v>106.70471068018593</c:v>
                </c:pt>
                <c:pt idx="21">
                  <c:v>106.42547188996534</c:v>
                </c:pt>
                <c:pt idx="22">
                  <c:v>106.14718192829882</c:v>
                </c:pt>
                <c:pt idx="23">
                  <c:v>105.86983706589139</c:v>
                </c:pt>
                <c:pt idx="24">
                  <c:v>105.59343358853732</c:v>
                </c:pt>
                <c:pt idx="25">
                  <c:v>105.31796779706674</c:v>
                </c:pt>
                <c:pt idx="26">
                  <c:v>105.04343600728699</c:v>
                </c:pt>
                <c:pt idx="27">
                  <c:v>104.76983454992485</c:v>
                </c:pt>
                <c:pt idx="28">
                  <c:v>104.49715977057056</c:v>
                </c:pt>
                <c:pt idx="29">
                  <c:v>104.22540802962097</c:v>
                </c:pt>
                <c:pt idx="30">
                  <c:v>103.95457570222291</c:v>
                </c:pt>
                <c:pt idx="31">
                  <c:v>103.68465917821621</c:v>
                </c:pt>
                <c:pt idx="32">
                  <c:v>103.41565486207796</c:v>
                </c:pt>
                <c:pt idx="33">
                  <c:v>103.14755917286627</c:v>
                </c:pt>
                <c:pt idx="34">
                  <c:v>102.88036854416458</c:v>
                </c:pt>
                <c:pt idx="35">
                  <c:v>102.6140794240256</c:v>
                </c:pt>
                <c:pt idx="36">
                  <c:v>102.34868827491546</c:v>
                </c:pt>
                <c:pt idx="37">
                  <c:v>102.08419157365931</c:v>
                </c:pt>
                <c:pt idx="38">
                  <c:v>101.82058581138517</c:v>
                </c:pt>
                <c:pt idx="39">
                  <c:v>101.55786749346896</c:v>
                </c:pt>
                <c:pt idx="40">
                  <c:v>101.29603313947993</c:v>
                </c:pt>
                <c:pt idx="41">
                  <c:v>101.03507928312516</c:v>
                </c:pt>
                <c:pt idx="42">
                  <c:v>100.77500247219659</c:v>
                </c:pt>
                <c:pt idx="43">
                  <c:v>100.51579926851531</c:v>
                </c:pt>
                <c:pt idx="44">
                  <c:v>100.25746624787722</c:v>
                </c:pt>
                <c:pt idx="45">
                  <c:v>100.0</c:v>
                </c:pt>
                <c:pt idx="46">
                  <c:v>99.61960253161124</c:v>
                </c:pt>
                <c:pt idx="47">
                  <c:v>99.24089273335952</c:v>
                </c:pt>
                <c:pt idx="48">
                  <c:v>98.86386260982964</c:v>
                </c:pt>
                <c:pt idx="49">
                  <c:v>98.48850420112326</c:v>
                </c:pt>
                <c:pt idx="50">
                  <c:v>98.11480958278749</c:v>
                </c:pt>
                <c:pt idx="51">
                  <c:v>97.74277086574031</c:v>
                </c:pt>
                <c:pt idx="52">
                  <c:v>97.37238019619998</c:v>
                </c:pt>
                <c:pt idx="53">
                  <c:v>97.00362975560729</c:v>
                </c:pt>
                <c:pt idx="54">
                  <c:v>96.63651176055045</c:v>
                </c:pt>
                <c:pt idx="55">
                  <c:v>96.27101846268643</c:v>
                </c:pt>
                <c:pt idx="56">
                  <c:v>95.90714214866203</c:v>
                </c:pt>
                <c:pt idx="57">
                  <c:v>95.54487514003299</c:v>
                </c:pt>
                <c:pt idx="58">
                  <c:v>95.18420979318194</c:v>
                </c:pt>
                <c:pt idx="59">
                  <c:v>94.82513849923656</c:v>
                </c:pt>
                <c:pt idx="60">
                  <c:v>94.46765368398373</c:v>
                </c:pt>
                <c:pt idx="61">
                  <c:v>94.11174780778353</c:v>
                </c:pt>
                <c:pt idx="62">
                  <c:v>93.75741336548506</c:v>
                </c:pt>
                <c:pt idx="63">
                  <c:v>93.4046428863346</c:v>
                </c:pt>
                <c:pt idx="64">
                  <c:v>93.0534289338895</c:v>
                </c:pt>
                <c:pt idx="65">
                  <c:v>92.70376410592618</c:v>
                </c:pt>
                <c:pt idx="66">
                  <c:v>92.35564103434977</c:v>
                </c:pt>
                <c:pt idx="67">
                  <c:v>92.0090523851002</c:v>
                </c:pt>
                <c:pt idx="68">
                  <c:v>91.66399085805938</c:v>
                </c:pt>
                <c:pt idx="69">
                  <c:v>91.32044918695615</c:v>
                </c:pt>
                <c:pt idx="70">
                  <c:v>90.97842013927026</c:v>
                </c:pt>
                <c:pt idx="71">
                  <c:v>90.63789651613597</c:v>
                </c:pt>
                <c:pt idx="72">
                  <c:v>90.29887115224359</c:v>
                </c:pt>
                <c:pt idx="73">
                  <c:v>89.96133691574127</c:v>
                </c:pt>
                <c:pt idx="74">
                  <c:v>89.62528670813487</c:v>
                </c:pt>
                <c:pt idx="75">
                  <c:v>89.29071346418654</c:v>
                </c:pt>
                <c:pt idx="76">
                  <c:v>88.95761015181367</c:v>
                </c:pt>
                <c:pt idx="77">
                  <c:v>88.62596977198682</c:v>
                </c:pt>
                <c:pt idx="78">
                  <c:v>88.29578535862453</c:v>
                </c:pt>
                <c:pt idx="79">
                  <c:v>87.96704997848992</c:v>
                </c:pt>
                <c:pt idx="80">
                  <c:v>87.63975673108578</c:v>
                </c:pt>
                <c:pt idx="81">
                  <c:v>87.31389874854744</c:v>
                </c:pt>
                <c:pt idx="82">
                  <c:v>86.98946919553701</c:v>
                </c:pt>
                <c:pt idx="83">
                  <c:v>86.6664612691339</c:v>
                </c:pt>
                <c:pt idx="84">
                  <c:v>86.34486819872866</c:v>
                </c:pt>
                <c:pt idx="85">
                  <c:v>86.02468324591138</c:v>
                </c:pt>
                <c:pt idx="86">
                  <c:v>85.70589970436343</c:v>
                </c:pt>
                <c:pt idx="87">
                  <c:v>85.38851089974557</c:v>
                </c:pt>
                <c:pt idx="88">
                  <c:v>85.07251018958696</c:v>
                </c:pt>
                <c:pt idx="89">
                  <c:v>84.75789096317335</c:v>
                </c:pt>
                <c:pt idx="90">
                  <c:v>84.444646641434</c:v>
                </c:pt>
                <c:pt idx="91">
                  <c:v>84.13277067682819</c:v>
                </c:pt>
                <c:pt idx="92">
                  <c:v>83.82225655323073</c:v>
                </c:pt>
                <c:pt idx="93">
                  <c:v>83.51309778581842</c:v>
                </c:pt>
                <c:pt idx="94">
                  <c:v>83.20528792095357</c:v>
                </c:pt>
                <c:pt idx="95">
                  <c:v>82.8988205360697</c:v>
                </c:pt>
                <c:pt idx="96">
                  <c:v>82.59368923955304</c:v>
                </c:pt>
                <c:pt idx="97">
                  <c:v>82.28988767062766</c:v>
                </c:pt>
                <c:pt idx="98">
                  <c:v>81.98740949923675</c:v>
                </c:pt>
                <c:pt idx="99">
                  <c:v>81.6862484259253</c:v>
                </c:pt>
                <c:pt idx="100">
                  <c:v>81.3863981817217</c:v>
                </c:pt>
                <c:pt idx="101">
                  <c:v>81.08785252801837</c:v>
                </c:pt>
                <c:pt idx="102">
                  <c:v>80.79060525645335</c:v>
                </c:pt>
                <c:pt idx="103">
                  <c:v>80.49465018878955</c:v>
                </c:pt>
                <c:pt idx="104">
                  <c:v>80.19998117679519</c:v>
                </c:pt>
                <c:pt idx="105">
                  <c:v>79.9065921021239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7</c:f>
              <c:strCache>
                <c:ptCount val="106"/>
                <c:pt idx="0">
                  <c:v>25.49</c:v>
                </c:pt>
                <c:pt idx="1">
                  <c:v>25.59</c:v>
                </c:pt>
                <c:pt idx="2">
                  <c:v>25.69</c:v>
                </c:pt>
                <c:pt idx="3">
                  <c:v>25.79</c:v>
                </c:pt>
                <c:pt idx="4">
                  <c:v>25.89</c:v>
                </c:pt>
                <c:pt idx="5">
                  <c:v>25.99</c:v>
                </c:pt>
                <c:pt idx="6">
                  <c:v>26.09</c:v>
                </c:pt>
                <c:pt idx="7">
                  <c:v>26.19</c:v>
                </c:pt>
                <c:pt idx="8">
                  <c:v>26.29</c:v>
                </c:pt>
                <c:pt idx="9">
                  <c:v>26.39</c:v>
                </c:pt>
                <c:pt idx="10">
                  <c:v>26.49</c:v>
                </c:pt>
                <c:pt idx="11">
                  <c:v>26.59</c:v>
                </c:pt>
                <c:pt idx="12">
                  <c:v>26.69</c:v>
                </c:pt>
                <c:pt idx="13">
                  <c:v>26.79</c:v>
                </c:pt>
                <c:pt idx="14">
                  <c:v>26.89</c:v>
                </c:pt>
                <c:pt idx="15">
                  <c:v>26.99</c:v>
                </c:pt>
                <c:pt idx="16">
                  <c:v>27.09</c:v>
                </c:pt>
                <c:pt idx="17">
                  <c:v>27.19</c:v>
                </c:pt>
                <c:pt idx="18">
                  <c:v>27.29</c:v>
                </c:pt>
                <c:pt idx="19">
                  <c:v>27.39</c:v>
                </c:pt>
                <c:pt idx="20">
                  <c:v>27.49</c:v>
                </c:pt>
                <c:pt idx="21">
                  <c:v>27.59</c:v>
                </c:pt>
                <c:pt idx="22">
                  <c:v>27.69</c:v>
                </c:pt>
                <c:pt idx="23">
                  <c:v>27.79</c:v>
                </c:pt>
                <c:pt idx="24">
                  <c:v>27.89</c:v>
                </c:pt>
                <c:pt idx="25">
                  <c:v>27.99</c:v>
                </c:pt>
                <c:pt idx="26">
                  <c:v>28.09</c:v>
                </c:pt>
                <c:pt idx="27">
                  <c:v>28.19</c:v>
                </c:pt>
                <c:pt idx="28">
                  <c:v>28.29</c:v>
                </c:pt>
                <c:pt idx="29">
                  <c:v>28.39</c:v>
                </c:pt>
                <c:pt idx="30">
                  <c:v>28.49</c:v>
                </c:pt>
                <c:pt idx="31">
                  <c:v>28.59</c:v>
                </c:pt>
                <c:pt idx="32">
                  <c:v>28.69</c:v>
                </c:pt>
                <c:pt idx="33">
                  <c:v>28.79</c:v>
                </c:pt>
                <c:pt idx="34">
                  <c:v>28.89</c:v>
                </c:pt>
                <c:pt idx="35">
                  <c:v>28.99</c:v>
                </c:pt>
                <c:pt idx="36">
                  <c:v>29.09</c:v>
                </c:pt>
                <c:pt idx="37">
                  <c:v>29.19</c:v>
                </c:pt>
                <c:pt idx="38">
                  <c:v>29.29</c:v>
                </c:pt>
                <c:pt idx="39">
                  <c:v>29.39</c:v>
                </c:pt>
                <c:pt idx="40">
                  <c:v>29.49</c:v>
                </c:pt>
                <c:pt idx="41">
                  <c:v>29.59</c:v>
                </c:pt>
                <c:pt idx="42">
                  <c:v>29.69</c:v>
                </c:pt>
                <c:pt idx="43">
                  <c:v>29.79</c:v>
                </c:pt>
                <c:pt idx="44">
                  <c:v>29.89</c:v>
                </c:pt>
                <c:pt idx="45">
                  <c:v>29.99</c:v>
                </c:pt>
                <c:pt idx="46">
                  <c:v>30.09</c:v>
                </c:pt>
                <c:pt idx="47">
                  <c:v>30.19</c:v>
                </c:pt>
                <c:pt idx="48">
                  <c:v>30.29</c:v>
                </c:pt>
                <c:pt idx="49">
                  <c:v>30.39</c:v>
                </c:pt>
                <c:pt idx="50">
                  <c:v>30.49</c:v>
                </c:pt>
                <c:pt idx="51">
                  <c:v>30.59</c:v>
                </c:pt>
                <c:pt idx="52">
                  <c:v>30.69</c:v>
                </c:pt>
                <c:pt idx="53">
                  <c:v>30.79</c:v>
                </c:pt>
                <c:pt idx="54">
                  <c:v>30.89</c:v>
                </c:pt>
                <c:pt idx="55">
                  <c:v>30.99</c:v>
                </c:pt>
                <c:pt idx="56">
                  <c:v>31.09</c:v>
                </c:pt>
                <c:pt idx="57">
                  <c:v>31.19</c:v>
                </c:pt>
                <c:pt idx="58">
                  <c:v>31.29</c:v>
                </c:pt>
                <c:pt idx="59">
                  <c:v>31.39</c:v>
                </c:pt>
                <c:pt idx="60">
                  <c:v>31.49</c:v>
                </c:pt>
                <c:pt idx="61">
                  <c:v>31.59</c:v>
                </c:pt>
                <c:pt idx="62">
                  <c:v>31.69</c:v>
                </c:pt>
                <c:pt idx="63">
                  <c:v>31.79</c:v>
                </c:pt>
                <c:pt idx="64">
                  <c:v>31.89</c:v>
                </c:pt>
                <c:pt idx="65">
                  <c:v>31.99</c:v>
                </c:pt>
                <c:pt idx="66">
                  <c:v>32.09</c:v>
                </c:pt>
                <c:pt idx="67">
                  <c:v>32.19</c:v>
                </c:pt>
                <c:pt idx="68">
                  <c:v>32.29</c:v>
                </c:pt>
                <c:pt idx="69">
                  <c:v>32.39</c:v>
                </c:pt>
                <c:pt idx="70">
                  <c:v>32.49</c:v>
                </c:pt>
                <c:pt idx="71">
                  <c:v>32.59</c:v>
                </c:pt>
                <c:pt idx="72">
                  <c:v>32.69</c:v>
                </c:pt>
                <c:pt idx="73">
                  <c:v>32.79</c:v>
                </c:pt>
                <c:pt idx="74">
                  <c:v>32.89</c:v>
                </c:pt>
                <c:pt idx="75">
                  <c:v>32.99</c:v>
                </c:pt>
                <c:pt idx="76">
                  <c:v>33.09</c:v>
                </c:pt>
                <c:pt idx="77">
                  <c:v>33.19</c:v>
                </c:pt>
                <c:pt idx="78">
                  <c:v>33.29</c:v>
                </c:pt>
                <c:pt idx="79">
                  <c:v>33.39</c:v>
                </c:pt>
                <c:pt idx="80">
                  <c:v>33.49</c:v>
                </c:pt>
                <c:pt idx="81">
                  <c:v>33.59</c:v>
                </c:pt>
                <c:pt idx="82">
                  <c:v>33.69</c:v>
                </c:pt>
                <c:pt idx="83">
                  <c:v>33.79</c:v>
                </c:pt>
                <c:pt idx="84">
                  <c:v>33.89</c:v>
                </c:pt>
                <c:pt idx="85">
                  <c:v>33.99</c:v>
                </c:pt>
                <c:pt idx="86">
                  <c:v>34.09</c:v>
                </c:pt>
                <c:pt idx="87">
                  <c:v>34.19</c:v>
                </c:pt>
                <c:pt idx="88">
                  <c:v>34.29</c:v>
                </c:pt>
                <c:pt idx="89">
                  <c:v>34.39</c:v>
                </c:pt>
                <c:pt idx="90">
                  <c:v>34.49</c:v>
                </c:pt>
                <c:pt idx="91">
                  <c:v>34.59</c:v>
                </c:pt>
                <c:pt idx="92">
                  <c:v>34.69</c:v>
                </c:pt>
                <c:pt idx="93">
                  <c:v>34.79</c:v>
                </c:pt>
                <c:pt idx="94">
                  <c:v>34.89</c:v>
                </c:pt>
                <c:pt idx="95">
                  <c:v>34.99</c:v>
                </c:pt>
                <c:pt idx="96">
                  <c:v>35.09</c:v>
                </c:pt>
                <c:pt idx="97">
                  <c:v>35.19</c:v>
                </c:pt>
                <c:pt idx="98">
                  <c:v>35.29</c:v>
                </c:pt>
                <c:pt idx="99">
                  <c:v>35.39</c:v>
                </c:pt>
                <c:pt idx="100">
                  <c:v>35.49</c:v>
                </c:pt>
                <c:pt idx="101">
                  <c:v>35.59</c:v>
                </c:pt>
                <c:pt idx="102">
                  <c:v>35.69</c:v>
                </c:pt>
                <c:pt idx="103">
                  <c:v>35.79</c:v>
                </c:pt>
                <c:pt idx="104">
                  <c:v>35.89</c:v>
                </c:pt>
                <c:pt idx="105">
                  <c:v>35.99</c:v>
                </c:pt>
              </c:strCache>
            </c:strRef>
          </c:cat>
          <c:val>
            <c:numRef>
              <c:f>Sheet1!$C$2:$C$107</c:f>
              <c:numCache>
                <c:formatCode>General</c:formatCode>
                <c:ptCount val="106"/>
                <c:pt idx="0">
                  <c:v>95.65949450238935</c:v>
                </c:pt>
                <c:pt idx="1">
                  <c:v>95.77835886552397</c:v>
                </c:pt>
                <c:pt idx="2">
                  <c:v>95.89611272790991</c:v>
                </c:pt>
                <c:pt idx="3">
                  <c:v>96.0127629110884</c:v>
                </c:pt>
                <c:pt idx="4">
                  <c:v>96.12831619588884</c:v>
                </c:pt>
                <c:pt idx="5">
                  <c:v>96.24277932266071</c:v>
                </c:pt>
                <c:pt idx="6">
                  <c:v>96.35615899150393</c:v>
                </c:pt>
                <c:pt idx="7">
                  <c:v>96.46846186249667</c:v>
                </c:pt>
                <c:pt idx="8">
                  <c:v>96.57969455592578</c:v>
                </c:pt>
                <c:pt idx="9">
                  <c:v>96.68986365251085</c:v>
                </c:pt>
                <c:pt idx="10">
                  <c:v>96.7989756936311</c:v>
                </c:pt>
                <c:pt idx="11">
                  <c:v>96.90703718154967</c:v>
                </c:pt>
                <c:pt idx="12">
                  <c:v>97.01405457963571</c:v>
                </c:pt>
                <c:pt idx="13">
                  <c:v>97.12003431258648</c:v>
                </c:pt>
                <c:pt idx="14">
                  <c:v>97.22498276664882</c:v>
                </c:pt>
                <c:pt idx="15">
                  <c:v>97.32890628983708</c:v>
                </c:pt>
                <c:pt idx="16">
                  <c:v>97.43181119215298</c:v>
                </c:pt>
                <c:pt idx="17">
                  <c:v>97.53370374580028</c:v>
                </c:pt>
                <c:pt idx="18">
                  <c:v>97.63459018540314</c:v>
                </c:pt>
                <c:pt idx="19">
                  <c:v>97.73447670821994</c:v>
                </c:pt>
                <c:pt idx="20">
                  <c:v>97.83336947435572</c:v>
                </c:pt>
                <c:pt idx="21">
                  <c:v>97.93127460697609</c:v>
                </c:pt>
                <c:pt idx="22">
                  <c:v>98.02819819251661</c:v>
                </c:pt>
                <c:pt idx="23">
                  <c:v>98.12414628089614</c:v>
                </c:pt>
                <c:pt idx="24">
                  <c:v>98.21912488572141</c:v>
                </c:pt>
                <c:pt idx="25">
                  <c:v>98.31313998449818</c:v>
                </c:pt>
                <c:pt idx="26">
                  <c:v>98.40619751883686</c:v>
                </c:pt>
                <c:pt idx="27">
                  <c:v>98.4983033946571</c:v>
                </c:pt>
                <c:pt idx="28">
                  <c:v>98.58946348239388</c:v>
                </c:pt>
                <c:pt idx="29">
                  <c:v>98.67968361719969</c:v>
                </c:pt>
                <c:pt idx="30">
                  <c:v>98.76896959914747</c:v>
                </c:pt>
                <c:pt idx="31">
                  <c:v>98.8573271934313</c:v>
                </c:pt>
                <c:pt idx="32">
                  <c:v>98.94476213056616</c:v>
                </c:pt>
                <c:pt idx="33">
                  <c:v>99.03128010658774</c:v>
                </c:pt>
                <c:pt idx="34">
                  <c:v>99.11688678324991</c:v>
                </c:pt>
                <c:pt idx="35">
                  <c:v>99.20158778822136</c:v>
                </c:pt>
                <c:pt idx="36">
                  <c:v>99.28538871528113</c:v>
                </c:pt>
                <c:pt idx="37">
                  <c:v>99.36829512451463</c:v>
                </c:pt>
                <c:pt idx="38">
                  <c:v>99.45031254250554</c:v>
                </c:pt>
                <c:pt idx="39">
                  <c:v>99.5314464625295</c:v>
                </c:pt>
                <c:pt idx="40">
                  <c:v>99.61170234474534</c:v>
                </c:pt>
                <c:pt idx="41">
                  <c:v>99.69108561638511</c:v>
                </c:pt>
                <c:pt idx="42">
                  <c:v>99.76960167194491</c:v>
                </c:pt>
                <c:pt idx="43">
                  <c:v>99.84725587337225</c:v>
                </c:pt>
                <c:pt idx="44">
                  <c:v>99.9240535502532</c:v>
                </c:pt>
                <c:pt idx="45">
                  <c:v>100.0</c:v>
                </c:pt>
                <c:pt idx="46">
                  <c:v>99.9513491800817</c:v>
                </c:pt>
                <c:pt idx="47">
                  <c:v>99.90186833219195</c:v>
                </c:pt>
                <c:pt idx="48">
                  <c:v>99.85156620188934</c:v>
                </c:pt>
                <c:pt idx="49">
                  <c:v>99.8004514641292</c:v>
                </c:pt>
                <c:pt idx="50">
                  <c:v>99.74853272379252</c:v>
                </c:pt>
                <c:pt idx="51">
                  <c:v>99.695818516209</c:v>
                </c:pt>
                <c:pt idx="52">
                  <c:v>99.642317307683</c:v>
                </c:pt>
                <c:pt idx="53">
                  <c:v>99.58803749601007</c:v>
                </c:pt>
                <c:pt idx="54">
                  <c:v>99.53298741099546</c:v>
                </c:pt>
                <c:pt idx="55">
                  <c:v>99.47717531496568</c:v>
                </c:pt>
                <c:pt idx="56">
                  <c:v>99.4206094032794</c:v>
                </c:pt>
                <c:pt idx="57">
                  <c:v>99.3632978048339</c:v>
                </c:pt>
                <c:pt idx="58">
                  <c:v>99.30524858256845</c:v>
                </c:pt>
                <c:pt idx="59">
                  <c:v>99.24646973396626</c:v>
                </c:pt>
                <c:pt idx="60">
                  <c:v>99.18696919155047</c:v>
                </c:pt>
                <c:pt idx="61">
                  <c:v>99.12675482337757</c:v>
                </c:pt>
                <c:pt idx="62">
                  <c:v>99.06583443353168</c:v>
                </c:pt>
                <c:pt idx="63">
                  <c:v>99.00421576260818</c:v>
                </c:pt>
                <c:pt idx="64">
                  <c:v>98.9419064882015</c:v>
                </c:pt>
                <c:pt idx="65">
                  <c:v>98.87891422538497</c:v>
                </c:pt>
                <c:pt idx="66">
                  <c:v>98.81524652719048</c:v>
                </c:pt>
                <c:pt idx="67">
                  <c:v>98.7509108850818</c:v>
                </c:pt>
                <c:pt idx="68">
                  <c:v>98.68591472942767</c:v>
                </c:pt>
                <c:pt idx="69">
                  <c:v>98.62026542997026</c:v>
                </c:pt>
                <c:pt idx="70">
                  <c:v>98.55397029629025</c:v>
                </c:pt>
                <c:pt idx="71">
                  <c:v>98.48703657826967</c:v>
                </c:pt>
                <c:pt idx="72">
                  <c:v>98.41947146655069</c:v>
                </c:pt>
                <c:pt idx="73">
                  <c:v>98.35128209299204</c:v>
                </c:pt>
                <c:pt idx="74">
                  <c:v>98.28247553112114</c:v>
                </c:pt>
                <c:pt idx="75">
                  <c:v>98.21305879658354</c:v>
                </c:pt>
                <c:pt idx="76">
                  <c:v>98.14303884758986</c:v>
                </c:pt>
                <c:pt idx="77">
                  <c:v>98.0724225853592</c:v>
                </c:pt>
                <c:pt idx="78">
                  <c:v>98.00121685455791</c:v>
                </c:pt>
                <c:pt idx="79">
                  <c:v>97.9294284437374</c:v>
                </c:pt>
                <c:pt idx="80">
                  <c:v>97.85706408576769</c:v>
                </c:pt>
                <c:pt idx="81">
                  <c:v>97.78413045826738</c:v>
                </c:pt>
                <c:pt idx="82">
                  <c:v>97.7106341840322</c:v>
                </c:pt>
                <c:pt idx="83">
                  <c:v>97.63658183145688</c:v>
                </c:pt>
                <c:pt idx="84">
                  <c:v>97.56197991495893</c:v>
                </c:pt>
                <c:pt idx="85">
                  <c:v>97.48683489539417</c:v>
                </c:pt>
                <c:pt idx="86">
                  <c:v>97.41115318047318</c:v>
                </c:pt>
                <c:pt idx="87">
                  <c:v>97.33494112517135</c:v>
                </c:pt>
                <c:pt idx="88">
                  <c:v>97.2582050321384</c:v>
                </c:pt>
                <c:pt idx="89">
                  <c:v>97.18095115210375</c:v>
                </c:pt>
                <c:pt idx="90">
                  <c:v>97.10318568427824</c:v>
                </c:pt>
                <c:pt idx="91">
                  <c:v>97.02491477675365</c:v>
                </c:pt>
                <c:pt idx="92">
                  <c:v>96.94614452689783</c:v>
                </c:pt>
                <c:pt idx="93">
                  <c:v>96.86688098174916</c:v>
                </c:pt>
                <c:pt idx="94">
                  <c:v>96.78713013840517</c:v>
                </c:pt>
                <c:pt idx="95">
                  <c:v>96.70689794441061</c:v>
                </c:pt>
                <c:pt idx="96">
                  <c:v>96.6261902981394</c:v>
                </c:pt>
                <c:pt idx="97">
                  <c:v>96.54501304917714</c:v>
                </c:pt>
                <c:pt idx="98">
                  <c:v>96.4633719986979</c:v>
                </c:pt>
                <c:pt idx="99">
                  <c:v>96.3812728998388</c:v>
                </c:pt>
                <c:pt idx="100">
                  <c:v>96.2987214580726</c:v>
                </c:pt>
                <c:pt idx="101">
                  <c:v>96.21572333157502</c:v>
                </c:pt>
                <c:pt idx="102">
                  <c:v>96.13228413159186</c:v>
                </c:pt>
                <c:pt idx="103">
                  <c:v>96.04840942280052</c:v>
                </c:pt>
                <c:pt idx="104">
                  <c:v>95.96410472367008</c:v>
                </c:pt>
                <c:pt idx="105">
                  <c:v>95.8793755068193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7</c:f>
              <c:strCache>
                <c:ptCount val="106"/>
                <c:pt idx="0">
                  <c:v>25.49</c:v>
                </c:pt>
                <c:pt idx="1">
                  <c:v>25.59</c:v>
                </c:pt>
                <c:pt idx="2">
                  <c:v>25.69</c:v>
                </c:pt>
                <c:pt idx="3">
                  <c:v>25.79</c:v>
                </c:pt>
                <c:pt idx="4">
                  <c:v>25.89</c:v>
                </c:pt>
                <c:pt idx="5">
                  <c:v>25.99</c:v>
                </c:pt>
                <c:pt idx="6">
                  <c:v>26.09</c:v>
                </c:pt>
                <c:pt idx="7">
                  <c:v>26.19</c:v>
                </c:pt>
                <c:pt idx="8">
                  <c:v>26.29</c:v>
                </c:pt>
                <c:pt idx="9">
                  <c:v>26.39</c:v>
                </c:pt>
                <c:pt idx="10">
                  <c:v>26.49</c:v>
                </c:pt>
                <c:pt idx="11">
                  <c:v>26.59</c:v>
                </c:pt>
                <c:pt idx="12">
                  <c:v>26.69</c:v>
                </c:pt>
                <c:pt idx="13">
                  <c:v>26.79</c:v>
                </c:pt>
                <c:pt idx="14">
                  <c:v>26.89</c:v>
                </c:pt>
                <c:pt idx="15">
                  <c:v>26.99</c:v>
                </c:pt>
                <c:pt idx="16">
                  <c:v>27.09</c:v>
                </c:pt>
                <c:pt idx="17">
                  <c:v>27.19</c:v>
                </c:pt>
                <c:pt idx="18">
                  <c:v>27.29</c:v>
                </c:pt>
                <c:pt idx="19">
                  <c:v>27.39</c:v>
                </c:pt>
                <c:pt idx="20">
                  <c:v>27.49</c:v>
                </c:pt>
                <c:pt idx="21">
                  <c:v>27.59</c:v>
                </c:pt>
                <c:pt idx="22">
                  <c:v>27.69</c:v>
                </c:pt>
                <c:pt idx="23">
                  <c:v>27.79</c:v>
                </c:pt>
                <c:pt idx="24">
                  <c:v>27.89</c:v>
                </c:pt>
                <c:pt idx="25">
                  <c:v>27.99</c:v>
                </c:pt>
                <c:pt idx="26">
                  <c:v>28.09</c:v>
                </c:pt>
                <c:pt idx="27">
                  <c:v>28.19</c:v>
                </c:pt>
                <c:pt idx="28">
                  <c:v>28.29</c:v>
                </c:pt>
                <c:pt idx="29">
                  <c:v>28.39</c:v>
                </c:pt>
                <c:pt idx="30">
                  <c:v>28.49</c:v>
                </c:pt>
                <c:pt idx="31">
                  <c:v>28.59</c:v>
                </c:pt>
                <c:pt idx="32">
                  <c:v>28.69</c:v>
                </c:pt>
                <c:pt idx="33">
                  <c:v>28.79</c:v>
                </c:pt>
                <c:pt idx="34">
                  <c:v>28.89</c:v>
                </c:pt>
                <c:pt idx="35">
                  <c:v>28.99</c:v>
                </c:pt>
                <c:pt idx="36">
                  <c:v>29.09</c:v>
                </c:pt>
                <c:pt idx="37">
                  <c:v>29.19</c:v>
                </c:pt>
                <c:pt idx="38">
                  <c:v>29.29</c:v>
                </c:pt>
                <c:pt idx="39">
                  <c:v>29.39</c:v>
                </c:pt>
                <c:pt idx="40">
                  <c:v>29.49</c:v>
                </c:pt>
                <c:pt idx="41">
                  <c:v>29.59</c:v>
                </c:pt>
                <c:pt idx="42">
                  <c:v>29.69</c:v>
                </c:pt>
                <c:pt idx="43">
                  <c:v>29.79</c:v>
                </c:pt>
                <c:pt idx="44">
                  <c:v>29.89</c:v>
                </c:pt>
                <c:pt idx="45">
                  <c:v>29.99</c:v>
                </c:pt>
                <c:pt idx="46">
                  <c:v>30.09</c:v>
                </c:pt>
                <c:pt idx="47">
                  <c:v>30.19</c:v>
                </c:pt>
                <c:pt idx="48">
                  <c:v>30.29</c:v>
                </c:pt>
                <c:pt idx="49">
                  <c:v>30.39</c:v>
                </c:pt>
                <c:pt idx="50">
                  <c:v>30.49</c:v>
                </c:pt>
                <c:pt idx="51">
                  <c:v>30.59</c:v>
                </c:pt>
                <c:pt idx="52">
                  <c:v>30.69</c:v>
                </c:pt>
                <c:pt idx="53">
                  <c:v>30.79</c:v>
                </c:pt>
                <c:pt idx="54">
                  <c:v>30.89</c:v>
                </c:pt>
                <c:pt idx="55">
                  <c:v>30.99</c:v>
                </c:pt>
                <c:pt idx="56">
                  <c:v>31.09</c:v>
                </c:pt>
                <c:pt idx="57">
                  <c:v>31.19</c:v>
                </c:pt>
                <c:pt idx="58">
                  <c:v>31.29</c:v>
                </c:pt>
                <c:pt idx="59">
                  <c:v>31.39</c:v>
                </c:pt>
                <c:pt idx="60">
                  <c:v>31.49</c:v>
                </c:pt>
                <c:pt idx="61">
                  <c:v>31.59</c:v>
                </c:pt>
                <c:pt idx="62">
                  <c:v>31.69</c:v>
                </c:pt>
                <c:pt idx="63">
                  <c:v>31.79</c:v>
                </c:pt>
                <c:pt idx="64">
                  <c:v>31.89</c:v>
                </c:pt>
                <c:pt idx="65">
                  <c:v>31.99</c:v>
                </c:pt>
                <c:pt idx="66">
                  <c:v>32.09</c:v>
                </c:pt>
                <c:pt idx="67">
                  <c:v>32.19</c:v>
                </c:pt>
                <c:pt idx="68">
                  <c:v>32.29</c:v>
                </c:pt>
                <c:pt idx="69">
                  <c:v>32.39</c:v>
                </c:pt>
                <c:pt idx="70">
                  <c:v>32.49</c:v>
                </c:pt>
                <c:pt idx="71">
                  <c:v>32.59</c:v>
                </c:pt>
                <c:pt idx="72">
                  <c:v>32.69</c:v>
                </c:pt>
                <c:pt idx="73">
                  <c:v>32.79</c:v>
                </c:pt>
                <c:pt idx="74">
                  <c:v>32.89</c:v>
                </c:pt>
                <c:pt idx="75">
                  <c:v>32.99</c:v>
                </c:pt>
                <c:pt idx="76">
                  <c:v>33.09</c:v>
                </c:pt>
                <c:pt idx="77">
                  <c:v>33.19</c:v>
                </c:pt>
                <c:pt idx="78">
                  <c:v>33.29</c:v>
                </c:pt>
                <c:pt idx="79">
                  <c:v>33.39</c:v>
                </c:pt>
                <c:pt idx="80">
                  <c:v>33.49</c:v>
                </c:pt>
                <c:pt idx="81">
                  <c:v>33.59</c:v>
                </c:pt>
                <c:pt idx="82">
                  <c:v>33.69</c:v>
                </c:pt>
                <c:pt idx="83">
                  <c:v>33.79</c:v>
                </c:pt>
                <c:pt idx="84">
                  <c:v>33.89</c:v>
                </c:pt>
                <c:pt idx="85">
                  <c:v>33.99</c:v>
                </c:pt>
                <c:pt idx="86">
                  <c:v>34.09</c:v>
                </c:pt>
                <c:pt idx="87">
                  <c:v>34.19</c:v>
                </c:pt>
                <c:pt idx="88">
                  <c:v>34.29</c:v>
                </c:pt>
                <c:pt idx="89">
                  <c:v>34.39</c:v>
                </c:pt>
                <c:pt idx="90">
                  <c:v>34.49</c:v>
                </c:pt>
                <c:pt idx="91">
                  <c:v>34.59</c:v>
                </c:pt>
                <c:pt idx="92">
                  <c:v>34.69</c:v>
                </c:pt>
                <c:pt idx="93">
                  <c:v>34.79</c:v>
                </c:pt>
                <c:pt idx="94">
                  <c:v>34.89</c:v>
                </c:pt>
                <c:pt idx="95">
                  <c:v>34.99</c:v>
                </c:pt>
                <c:pt idx="96">
                  <c:v>35.09</c:v>
                </c:pt>
                <c:pt idx="97">
                  <c:v>35.19</c:v>
                </c:pt>
                <c:pt idx="98">
                  <c:v>35.29</c:v>
                </c:pt>
                <c:pt idx="99">
                  <c:v>35.39</c:v>
                </c:pt>
                <c:pt idx="100">
                  <c:v>35.49</c:v>
                </c:pt>
                <c:pt idx="101">
                  <c:v>35.59</c:v>
                </c:pt>
                <c:pt idx="102">
                  <c:v>35.69</c:v>
                </c:pt>
                <c:pt idx="103">
                  <c:v>35.79</c:v>
                </c:pt>
                <c:pt idx="104">
                  <c:v>35.89</c:v>
                </c:pt>
                <c:pt idx="105">
                  <c:v>35.99</c:v>
                </c:pt>
              </c:strCache>
            </c:strRef>
          </c:cat>
          <c:val>
            <c:numRef>
              <c:f>Sheet1!$D$2:$D$107</c:f>
              <c:numCache>
                <c:formatCode>General</c:formatCode>
                <c:ptCount val="106"/>
                <c:pt idx="0">
                  <c:v>78.5456427217526</c:v>
                </c:pt>
                <c:pt idx="1">
                  <c:v>79.08911820286333</c:v>
                </c:pt>
                <c:pt idx="2">
                  <c:v>79.62932220936425</c:v>
                </c:pt>
                <c:pt idx="3">
                  <c:v>80.1662723860864</c:v>
                </c:pt>
                <c:pt idx="4">
                  <c:v>80.69998628227533</c:v>
                </c:pt>
                <c:pt idx="5">
                  <c:v>81.2304813520825</c:v>
                </c:pt>
                <c:pt idx="6">
                  <c:v>81.75777495505355</c:v>
                </c:pt>
                <c:pt idx="7">
                  <c:v>82.28188435661463</c:v>
                </c:pt>
                <c:pt idx="8">
                  <c:v>82.80282672855826</c:v>
                </c:pt>
                <c:pt idx="9">
                  <c:v>83.32061914952382</c:v>
                </c:pt>
                <c:pt idx="10">
                  <c:v>83.8352786054784</c:v>
                </c:pt>
                <c:pt idx="11">
                  <c:v>84.3468219901949</c:v>
                </c:pt>
                <c:pt idx="12">
                  <c:v>84.85526610572671</c:v>
                </c:pt>
                <c:pt idx="13">
                  <c:v>85.36062766288157</c:v>
                </c:pt>
                <c:pt idx="14">
                  <c:v>85.86292328169297</c:v>
                </c:pt>
                <c:pt idx="15">
                  <c:v>86.36216949188893</c:v>
                </c:pt>
                <c:pt idx="16">
                  <c:v>86.85838273335924</c:v>
                </c:pt>
                <c:pt idx="17">
                  <c:v>87.3515793566191</c:v>
                </c:pt>
                <c:pt idx="18">
                  <c:v>87.84177562327318</c:v>
                </c:pt>
                <c:pt idx="19">
                  <c:v>88.32898770647569</c:v>
                </c:pt>
                <c:pt idx="20">
                  <c:v>88.8132316913878</c:v>
                </c:pt>
                <c:pt idx="21">
                  <c:v>89.29452357563439</c:v>
                </c:pt>
                <c:pt idx="22">
                  <c:v>89.77287926975792</c:v>
                </c:pt>
                <c:pt idx="23">
                  <c:v>90.24831459767194</c:v>
                </c:pt>
                <c:pt idx="24">
                  <c:v>90.72084529710789</c:v>
                </c:pt>
                <c:pt idx="25">
                  <c:v>91.19048702006552</c:v>
                </c:pt>
                <c:pt idx="26">
                  <c:v>91.65725533325755</c:v>
                </c:pt>
                <c:pt idx="27">
                  <c:v>92.12116571855252</c:v>
                </c:pt>
                <c:pt idx="28">
                  <c:v>92.58223357341761</c:v>
                </c:pt>
                <c:pt idx="29">
                  <c:v>93.04047421135752</c:v>
                </c:pt>
                <c:pt idx="30">
                  <c:v>93.49590286235193</c:v>
                </c:pt>
                <c:pt idx="31">
                  <c:v>93.94853467329041</c:v>
                </c:pt>
                <c:pt idx="32">
                  <c:v>94.39838470840614</c:v>
                </c:pt>
                <c:pt idx="33">
                  <c:v>94.84546794970706</c:v>
                </c:pt>
                <c:pt idx="34">
                  <c:v>95.2897992974054</c:v>
                </c:pt>
                <c:pt idx="35">
                  <c:v>95.731393570344</c:v>
                </c:pt>
                <c:pt idx="36">
                  <c:v>96.17026550642242</c:v>
                </c:pt>
                <c:pt idx="37">
                  <c:v>96.60642976302</c:v>
                </c:pt>
                <c:pt idx="38">
                  <c:v>97.03990091741677</c:v>
                </c:pt>
                <c:pt idx="39">
                  <c:v>97.47069346721229</c:v>
                </c:pt>
                <c:pt idx="40">
                  <c:v>97.89882183074378</c:v>
                </c:pt>
                <c:pt idx="41">
                  <c:v>98.32430034750057</c:v>
                </c:pt>
                <c:pt idx="42">
                  <c:v>98.74714327853822</c:v>
                </c:pt>
                <c:pt idx="43">
                  <c:v>99.16736480688918</c:v>
                </c:pt>
                <c:pt idx="44">
                  <c:v>99.58497903797213</c:v>
                </c:pt>
                <c:pt idx="45">
                  <c:v>100.0</c:v>
                </c:pt>
                <c:pt idx="46">
                  <c:v>100.28808685340387</c:v>
                </c:pt>
                <c:pt idx="47">
                  <c:v>100.57278611055607</c:v>
                </c:pt>
                <c:pt idx="48">
                  <c:v>100.85412345367975</c:v>
                </c:pt>
                <c:pt idx="49">
                  <c:v>101.13212438874267</c:v>
                </c:pt>
                <c:pt idx="50">
                  <c:v>101.40681424655268</c:v>
                </c:pt>
                <c:pt idx="51">
                  <c:v>101.67821818384594</c:v>
                </c:pt>
                <c:pt idx="52">
                  <c:v>101.94636118437697</c:v>
                </c:pt>
                <c:pt idx="53">
                  <c:v>102.21126805999863</c:v>
                </c:pt>
                <c:pt idx="54">
                  <c:v>102.47296345174242</c:v>
                </c:pt>
                <c:pt idx="55">
                  <c:v>102.73147183089138</c:v>
                </c:pt>
                <c:pt idx="56">
                  <c:v>102.98681750005024</c:v>
                </c:pt>
                <c:pt idx="57">
                  <c:v>103.23902459421073</c:v>
                </c:pt>
                <c:pt idx="58">
                  <c:v>103.4881170818122</c:v>
                </c:pt>
                <c:pt idx="59">
                  <c:v>103.73411876579983</c:v>
                </c:pt>
                <c:pt idx="60">
                  <c:v>103.97705328467508</c:v>
                </c:pt>
                <c:pt idx="61">
                  <c:v>104.2169441135425</c:v>
                </c:pt>
                <c:pt idx="62">
                  <c:v>104.4538145651559</c:v>
                </c:pt>
                <c:pt idx="63">
                  <c:v>104.68768779095296</c:v>
                </c:pt>
                <c:pt idx="64">
                  <c:v>104.91858678209165</c:v>
                </c:pt>
                <c:pt idx="65">
                  <c:v>105.14653437047787</c:v>
                </c:pt>
                <c:pt idx="66">
                  <c:v>105.3715532297915</c:v>
                </c:pt>
                <c:pt idx="67">
                  <c:v>105.59366587650372</c:v>
                </c:pt>
                <c:pt idx="68">
                  <c:v>105.81289467089346</c:v>
                </c:pt>
                <c:pt idx="69">
                  <c:v>106.02926181805753</c:v>
                </c:pt>
                <c:pt idx="70">
                  <c:v>106.24278936891454</c:v>
                </c:pt>
                <c:pt idx="71">
                  <c:v>106.45349922120684</c:v>
                </c:pt>
                <c:pt idx="72">
                  <c:v>106.661413120495</c:v>
                </c:pt>
                <c:pt idx="73">
                  <c:v>106.86655266114921</c:v>
                </c:pt>
                <c:pt idx="74">
                  <c:v>107.0689392873342</c:v>
                </c:pt>
                <c:pt idx="75">
                  <c:v>107.26859429399012</c:v>
                </c:pt>
                <c:pt idx="76">
                  <c:v>107.46553882780836</c:v>
                </c:pt>
                <c:pt idx="77">
                  <c:v>107.65979388820293</c:v>
                </c:pt>
                <c:pt idx="78">
                  <c:v>107.8513803282747</c:v>
                </c:pt>
                <c:pt idx="79">
                  <c:v>108.04031885577304</c:v>
                </c:pt>
                <c:pt idx="80">
                  <c:v>108.22663003405137</c:v>
                </c:pt>
                <c:pt idx="81">
                  <c:v>108.4103342830172</c:v>
                </c:pt>
                <c:pt idx="82">
                  <c:v>108.59145188007855</c:v>
                </c:pt>
                <c:pt idx="83">
                  <c:v>108.77000296108204</c:v>
                </c:pt>
                <c:pt idx="84">
                  <c:v>108.94600752125092</c:v>
                </c:pt>
                <c:pt idx="85">
                  <c:v>109.11948541611243</c:v>
                </c:pt>
                <c:pt idx="86">
                  <c:v>109.29045636242485</c:v>
                </c:pt>
                <c:pt idx="87">
                  <c:v>109.45893993909503</c:v>
                </c:pt>
                <c:pt idx="88">
                  <c:v>109.62495558809442</c:v>
                </c:pt>
                <c:pt idx="89">
                  <c:v>109.7885226153681</c:v>
                </c:pt>
                <c:pt idx="90">
                  <c:v>109.94966019173853</c:v>
                </c:pt>
                <c:pt idx="91">
                  <c:v>110.10838735380466</c:v>
                </c:pt>
                <c:pt idx="92">
                  <c:v>110.26472300483493</c:v>
                </c:pt>
                <c:pt idx="93">
                  <c:v>110.41868591565671</c:v>
                </c:pt>
                <c:pt idx="94">
                  <c:v>110.57029472553856</c:v>
                </c:pt>
                <c:pt idx="95">
                  <c:v>110.71956794306983</c:v>
                </c:pt>
                <c:pt idx="96">
                  <c:v>110.86652394703056</c:v>
                </c:pt>
                <c:pt idx="97">
                  <c:v>111.01118098726187</c:v>
                </c:pt>
                <c:pt idx="98">
                  <c:v>111.15355718552622</c:v>
                </c:pt>
                <c:pt idx="99">
                  <c:v>111.29367053636552</c:v>
                </c:pt>
                <c:pt idx="100">
                  <c:v>111.4315389079525</c:v>
                </c:pt>
                <c:pt idx="101">
                  <c:v>111.56718004293704</c:v>
                </c:pt>
                <c:pt idx="102">
                  <c:v>111.70061155928792</c:v>
                </c:pt>
                <c:pt idx="103">
                  <c:v>111.83185095112833</c:v>
                </c:pt>
                <c:pt idx="104">
                  <c:v>111.9609155895665</c:v>
                </c:pt>
                <c:pt idx="105">
                  <c:v>112.0878227235228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7</c:f>
              <c:strCache>
                <c:ptCount val="106"/>
                <c:pt idx="0">
                  <c:v>25.49</c:v>
                </c:pt>
                <c:pt idx="1">
                  <c:v>25.59</c:v>
                </c:pt>
                <c:pt idx="2">
                  <c:v>25.69</c:v>
                </c:pt>
                <c:pt idx="3">
                  <c:v>25.79</c:v>
                </c:pt>
                <c:pt idx="4">
                  <c:v>25.89</c:v>
                </c:pt>
                <c:pt idx="5">
                  <c:v>25.99</c:v>
                </c:pt>
                <c:pt idx="6">
                  <c:v>26.09</c:v>
                </c:pt>
                <c:pt idx="7">
                  <c:v>26.19</c:v>
                </c:pt>
                <c:pt idx="8">
                  <c:v>26.29</c:v>
                </c:pt>
                <c:pt idx="9">
                  <c:v>26.39</c:v>
                </c:pt>
                <c:pt idx="10">
                  <c:v>26.49</c:v>
                </c:pt>
                <c:pt idx="11">
                  <c:v>26.59</c:v>
                </c:pt>
                <c:pt idx="12">
                  <c:v>26.69</c:v>
                </c:pt>
                <c:pt idx="13">
                  <c:v>26.79</c:v>
                </c:pt>
                <c:pt idx="14">
                  <c:v>26.89</c:v>
                </c:pt>
                <c:pt idx="15">
                  <c:v>26.99</c:v>
                </c:pt>
                <c:pt idx="16">
                  <c:v>27.09</c:v>
                </c:pt>
                <c:pt idx="17">
                  <c:v>27.19</c:v>
                </c:pt>
                <c:pt idx="18">
                  <c:v>27.29</c:v>
                </c:pt>
                <c:pt idx="19">
                  <c:v>27.39</c:v>
                </c:pt>
                <c:pt idx="20">
                  <c:v>27.49</c:v>
                </c:pt>
                <c:pt idx="21">
                  <c:v>27.59</c:v>
                </c:pt>
                <c:pt idx="22">
                  <c:v>27.69</c:v>
                </c:pt>
                <c:pt idx="23">
                  <c:v>27.79</c:v>
                </c:pt>
                <c:pt idx="24">
                  <c:v>27.89</c:v>
                </c:pt>
                <c:pt idx="25">
                  <c:v>27.99</c:v>
                </c:pt>
                <c:pt idx="26">
                  <c:v>28.09</c:v>
                </c:pt>
                <c:pt idx="27">
                  <c:v>28.19</c:v>
                </c:pt>
                <c:pt idx="28">
                  <c:v>28.29</c:v>
                </c:pt>
                <c:pt idx="29">
                  <c:v>28.39</c:v>
                </c:pt>
                <c:pt idx="30">
                  <c:v>28.49</c:v>
                </c:pt>
                <c:pt idx="31">
                  <c:v>28.59</c:v>
                </c:pt>
                <c:pt idx="32">
                  <c:v>28.69</c:v>
                </c:pt>
                <c:pt idx="33">
                  <c:v>28.79</c:v>
                </c:pt>
                <c:pt idx="34">
                  <c:v>28.89</c:v>
                </c:pt>
                <c:pt idx="35">
                  <c:v>28.99</c:v>
                </c:pt>
                <c:pt idx="36">
                  <c:v>29.09</c:v>
                </c:pt>
                <c:pt idx="37">
                  <c:v>29.19</c:v>
                </c:pt>
                <c:pt idx="38">
                  <c:v>29.29</c:v>
                </c:pt>
                <c:pt idx="39">
                  <c:v>29.39</c:v>
                </c:pt>
                <c:pt idx="40">
                  <c:v>29.49</c:v>
                </c:pt>
                <c:pt idx="41">
                  <c:v>29.59</c:v>
                </c:pt>
                <c:pt idx="42">
                  <c:v>29.69</c:v>
                </c:pt>
                <c:pt idx="43">
                  <c:v>29.79</c:v>
                </c:pt>
                <c:pt idx="44">
                  <c:v>29.89</c:v>
                </c:pt>
                <c:pt idx="45">
                  <c:v>29.99</c:v>
                </c:pt>
                <c:pt idx="46">
                  <c:v>30.09</c:v>
                </c:pt>
                <c:pt idx="47">
                  <c:v>30.19</c:v>
                </c:pt>
                <c:pt idx="48">
                  <c:v>30.29</c:v>
                </c:pt>
                <c:pt idx="49">
                  <c:v>30.39</c:v>
                </c:pt>
                <c:pt idx="50">
                  <c:v>30.49</c:v>
                </c:pt>
                <c:pt idx="51">
                  <c:v>30.59</c:v>
                </c:pt>
                <c:pt idx="52">
                  <c:v>30.69</c:v>
                </c:pt>
                <c:pt idx="53">
                  <c:v>30.79</c:v>
                </c:pt>
                <c:pt idx="54">
                  <c:v>30.89</c:v>
                </c:pt>
                <c:pt idx="55">
                  <c:v>30.99</c:v>
                </c:pt>
                <c:pt idx="56">
                  <c:v>31.09</c:v>
                </c:pt>
                <c:pt idx="57">
                  <c:v>31.19</c:v>
                </c:pt>
                <c:pt idx="58">
                  <c:v>31.29</c:v>
                </c:pt>
                <c:pt idx="59">
                  <c:v>31.39</c:v>
                </c:pt>
                <c:pt idx="60">
                  <c:v>31.49</c:v>
                </c:pt>
                <c:pt idx="61">
                  <c:v>31.59</c:v>
                </c:pt>
                <c:pt idx="62">
                  <c:v>31.69</c:v>
                </c:pt>
                <c:pt idx="63">
                  <c:v>31.79</c:v>
                </c:pt>
                <c:pt idx="64">
                  <c:v>31.89</c:v>
                </c:pt>
                <c:pt idx="65">
                  <c:v>31.99</c:v>
                </c:pt>
                <c:pt idx="66">
                  <c:v>32.09</c:v>
                </c:pt>
                <c:pt idx="67">
                  <c:v>32.19</c:v>
                </c:pt>
                <c:pt idx="68">
                  <c:v>32.29</c:v>
                </c:pt>
                <c:pt idx="69">
                  <c:v>32.39</c:v>
                </c:pt>
                <c:pt idx="70">
                  <c:v>32.49</c:v>
                </c:pt>
                <c:pt idx="71">
                  <c:v>32.59</c:v>
                </c:pt>
                <c:pt idx="72">
                  <c:v>32.69</c:v>
                </c:pt>
                <c:pt idx="73">
                  <c:v>32.79</c:v>
                </c:pt>
                <c:pt idx="74">
                  <c:v>32.89</c:v>
                </c:pt>
                <c:pt idx="75">
                  <c:v>32.99</c:v>
                </c:pt>
                <c:pt idx="76">
                  <c:v>33.09</c:v>
                </c:pt>
                <c:pt idx="77">
                  <c:v>33.19</c:v>
                </c:pt>
                <c:pt idx="78">
                  <c:v>33.29</c:v>
                </c:pt>
                <c:pt idx="79">
                  <c:v>33.39</c:v>
                </c:pt>
                <c:pt idx="80">
                  <c:v>33.49</c:v>
                </c:pt>
                <c:pt idx="81">
                  <c:v>33.59</c:v>
                </c:pt>
                <c:pt idx="82">
                  <c:v>33.69</c:v>
                </c:pt>
                <c:pt idx="83">
                  <c:v>33.79</c:v>
                </c:pt>
                <c:pt idx="84">
                  <c:v>33.89</c:v>
                </c:pt>
                <c:pt idx="85">
                  <c:v>33.99</c:v>
                </c:pt>
                <c:pt idx="86">
                  <c:v>34.09</c:v>
                </c:pt>
                <c:pt idx="87">
                  <c:v>34.19</c:v>
                </c:pt>
                <c:pt idx="88">
                  <c:v>34.29</c:v>
                </c:pt>
                <c:pt idx="89">
                  <c:v>34.39</c:v>
                </c:pt>
                <c:pt idx="90">
                  <c:v>34.49</c:v>
                </c:pt>
                <c:pt idx="91">
                  <c:v>34.59</c:v>
                </c:pt>
                <c:pt idx="92">
                  <c:v>34.69</c:v>
                </c:pt>
                <c:pt idx="93">
                  <c:v>34.79</c:v>
                </c:pt>
                <c:pt idx="94">
                  <c:v>34.89</c:v>
                </c:pt>
                <c:pt idx="95">
                  <c:v>34.99</c:v>
                </c:pt>
                <c:pt idx="96">
                  <c:v>35.09</c:v>
                </c:pt>
                <c:pt idx="97">
                  <c:v>35.19</c:v>
                </c:pt>
                <c:pt idx="98">
                  <c:v>35.29</c:v>
                </c:pt>
                <c:pt idx="99">
                  <c:v>35.39</c:v>
                </c:pt>
                <c:pt idx="100">
                  <c:v>35.49</c:v>
                </c:pt>
                <c:pt idx="101">
                  <c:v>35.59</c:v>
                </c:pt>
                <c:pt idx="102">
                  <c:v>35.69</c:v>
                </c:pt>
                <c:pt idx="103">
                  <c:v>35.79</c:v>
                </c:pt>
                <c:pt idx="104">
                  <c:v>35.89</c:v>
                </c:pt>
                <c:pt idx="105">
                  <c:v>35.99</c:v>
                </c:pt>
              </c:strCache>
            </c:strRef>
          </c:cat>
          <c:val>
            <c:numRef>
              <c:f>Sheet1!$E$2:$E$107</c:f>
              <c:numCache>
                <c:formatCode>General</c:formatCode>
                <c:ptCount val="106"/>
                <c:pt idx="0">
                  <c:v>0.4088042554430561</c:v>
                </c:pt>
                <c:pt idx="1">
                  <c:v>0.41111451626586554</c:v>
                </c:pt>
                <c:pt idx="2">
                  <c:v>0.41340679140690945</c:v>
                </c:pt>
                <c:pt idx="3">
                  <c:v>0.41568129008311366</c:v>
                </c:pt>
                <c:pt idx="4">
                  <c:v>0.4179382182790073</c:v>
                </c:pt>
                <c:pt idx="5">
                  <c:v>0.42017777880890744</c:v>
                </c:pt>
                <c:pt idx="6">
                  <c:v>0.42240017137767355</c:v>
                </c:pt>
                <c:pt idx="7">
                  <c:v>0.42460559264007264</c:v>
                </c:pt>
                <c:pt idx="8">
                  <c:v>0.4267942362587866</c:v>
                </c:pt>
                <c:pt idx="9">
                  <c:v>0.4289662929611028</c:v>
                </c:pt>
                <c:pt idx="10">
                  <c:v>0.43112195059431874</c:v>
                </c:pt>
                <c:pt idx="11">
                  <c:v>0.43326139417989845</c:v>
                </c:pt>
                <c:pt idx="12">
                  <c:v>0.4353848059664106</c:v>
                </c:pt>
                <c:pt idx="13">
                  <c:v>0.4374923654812804</c:v>
                </c:pt>
                <c:pt idx="14">
                  <c:v>0.4395842495813871</c:v>
                </c:pt>
                <c:pt idx="15">
                  <c:v>0.4416606325025382</c:v>
                </c:pt>
                <c:pt idx="16">
                  <c:v>0.44372168590784433</c:v>
                </c:pt>
                <c:pt idx="17">
                  <c:v>0.44576757893503116</c:v>
                </c:pt>
                <c:pt idx="18">
                  <c:v>0.447798478242708</c:v>
                </c:pt>
                <c:pt idx="19">
                  <c:v>0.4498145480556224</c:v>
                </c:pt>
                <c:pt idx="20">
                  <c:v>0.4518159502089307</c:v>
                </c:pt>
                <c:pt idx="21">
                  <c:v>0.4538028441915005</c:v>
                </c:pt>
                <c:pt idx="22">
                  <c:v>0.4557753871882811</c:v>
                </c:pt>
                <c:pt idx="23">
                  <c:v>0.45773373412175244</c:v>
                </c:pt>
                <c:pt idx="24">
                  <c:v>0.45967803769248833</c:v>
                </c:pt>
                <c:pt idx="25">
                  <c:v>0.46160844841884596</c:v>
                </c:pt>
                <c:pt idx="26">
                  <c:v>0.4635251146758101</c:v>
                </c:pt>
                <c:pt idx="27">
                  <c:v>0.46542818273300823</c:v>
                </c:pt>
                <c:pt idx="28">
                  <c:v>0.46731779679192287</c:v>
                </c:pt>
                <c:pt idx="29">
                  <c:v>0.4691940990223141</c:v>
                </c:pt>
                <c:pt idx="30">
                  <c:v>0.47105722959787655</c:v>
                </c:pt>
                <c:pt idx="31">
                  <c:v>0.47290732673114727</c:v>
                </c:pt>
                <c:pt idx="32">
                  <c:v>0.4747445267076855</c:v>
                </c:pt>
                <c:pt idx="33">
                  <c:v>0.47656896391953796</c:v>
                </c:pt>
                <c:pt idx="34">
                  <c:v>0.4783807708980098</c:v>
                </c:pt>
                <c:pt idx="35">
                  <c:v>0.48018007834575716</c:v>
                </c:pt>
                <c:pt idx="36">
                  <c:v>0.4819670151682193</c:v>
                </c:pt>
                <c:pt idx="37">
                  <c:v>0.48374170850440207</c:v>
                </c:pt>
                <c:pt idx="38">
                  <c:v>0.48550428375703336</c:v>
                </c:pt>
                <c:pt idx="39">
                  <c:v>0.48725486462209944</c:v>
                </c:pt>
                <c:pt idx="40">
                  <c:v>0.4889935731177858</c:v>
                </c:pt>
                <c:pt idx="41">
                  <c:v>0.49072052961282536</c:v>
                </c:pt>
                <c:pt idx="42">
                  <c:v>0.49243585285427766</c:v>
                </c:pt>
                <c:pt idx="43">
                  <c:v>0.4941396599947467</c:v>
                </c:pt>
                <c:pt idx="44">
                  <c:v>0.49583206661905327</c:v>
                </c:pt>
                <c:pt idx="45">
                  <c:v>0.4975131867703735</c:v>
                </c:pt>
                <c:pt idx="46">
                  <c:v>0.4991831329758559</c:v>
                </c:pt>
                <c:pt idx="47">
                  <c:v>0.5008420162717291</c:v>
                </c:pt>
                <c:pt idx="48">
                  <c:v>0.5024899462279137</c:v>
                </c:pt>
                <c:pt idx="49">
                  <c:v>0.5041270309721455</c:v>
                </c:pt>
                <c:pt idx="50">
                  <c:v>0.5057533772136275</c:v>
                </c:pt>
                <c:pt idx="51">
                  <c:v>0.5073690902662147</c:v>
                </c:pt>
                <c:pt idx="52">
                  <c:v>0.508974274071147</c:v>
                </c:pt>
                <c:pt idx="53">
                  <c:v>0.5105690312193407</c:v>
                </c:pt>
                <c:pt idx="54">
                  <c:v>0.5121534629732437</c:v>
                </c:pt>
                <c:pt idx="55">
                  <c:v>0.5137276692882704</c:v>
                </c:pt>
                <c:pt idx="56">
                  <c:v>0.5152917488338212</c:v>
                </c:pt>
                <c:pt idx="57">
                  <c:v>0.5168457990138987</c:v>
                </c:pt>
                <c:pt idx="58">
                  <c:v>0.5183899159873283</c:v>
                </c:pt>
                <c:pt idx="59">
                  <c:v>0.5199241946875915</c:v>
                </c:pt>
                <c:pt idx="60">
                  <c:v>0.5214487288422832</c:v>
                </c:pt>
                <c:pt idx="61">
                  <c:v>0.522963610992197</c:v>
                </c:pt>
                <c:pt idx="62">
                  <c:v>0.5244689325100507</c:v>
                </c:pt>
                <c:pt idx="63">
                  <c:v>0.5259647836188581</c:v>
                </c:pt>
                <c:pt idx="64">
                  <c:v>0.5274512534099562</c:v>
                </c:pt>
                <c:pt idx="65">
                  <c:v>0.5289284298606908</c:v>
                </c:pt>
                <c:pt idx="66">
                  <c:v>0.5303963998517763</c:v>
                </c:pt>
                <c:pt idx="67">
                  <c:v>0.5318552491843276</c:v>
                </c:pt>
                <c:pt idx="68">
                  <c:v>0.5333050625965778</c:v>
                </c:pt>
                <c:pt idx="69">
                  <c:v>0.5347459237802872</c:v>
                </c:pt>
                <c:pt idx="70">
                  <c:v>0.5361779153968452</c:v>
                </c:pt>
                <c:pt idx="71">
                  <c:v>0.5376011190930808</c:v>
                </c:pt>
                <c:pt idx="72">
                  <c:v>0.5390156155167788</c:v>
                </c:pt>
                <c:pt idx="73">
                  <c:v>0.5404214843319154</c:v>
                </c:pt>
                <c:pt idx="74">
                  <c:v>0.5418188042336121</c:v>
                </c:pt>
                <c:pt idx="75">
                  <c:v>0.543207652962822</c:v>
                </c:pt>
                <c:pt idx="76">
                  <c:v>0.5445881073207466</c:v>
                </c:pt>
                <c:pt idx="77">
                  <c:v>0.5459602431829919</c:v>
                </c:pt>
                <c:pt idx="78">
                  <c:v>0.5473241355134726</c:v>
                </c:pt>
                <c:pt idx="79">
                  <c:v>0.5486798583780624</c:v>
                </c:pt>
                <c:pt idx="80">
                  <c:v>0.5500274849580024</c:v>
                </c:pt>
                <c:pt idx="81">
                  <c:v>0.5513670875630693</c:v>
                </c:pt>
                <c:pt idx="82">
                  <c:v>0.5526987376445088</c:v>
                </c:pt>
                <c:pt idx="83">
                  <c:v>0.5540225058077389</c:v>
                </c:pt>
                <c:pt idx="84">
                  <c:v>0.5553384618248305</c:v>
                </c:pt>
                <c:pt idx="85">
                  <c:v>0.5566466746467638</c:v>
                </c:pt>
                <c:pt idx="86">
                  <c:v>0.5579472124154738</c:v>
                </c:pt>
                <c:pt idx="87">
                  <c:v>0.5592401424756801</c:v>
                </c:pt>
                <c:pt idx="88">
                  <c:v>0.5605255313865122</c:v>
                </c:pt>
                <c:pt idx="89">
                  <c:v>0.5618034449329312</c:v>
                </c:pt>
                <c:pt idx="90">
                  <c:v>0.5630739481369528</c:v>
                </c:pt>
                <c:pt idx="91">
                  <c:v>0.5643371052686759</c:v>
                </c:pt>
                <c:pt idx="92">
                  <c:v>0.5655929798571202</c:v>
                </c:pt>
                <c:pt idx="93">
                  <c:v>0.5668416347008768</c:v>
                </c:pt>
                <c:pt idx="94">
                  <c:v>0.5680831318785756</c:v>
                </c:pt>
                <c:pt idx="95">
                  <c:v>0.5693175327591742</c:v>
                </c:pt>
                <c:pt idx="96">
                  <c:v>0.570544898012069</c:v>
                </c:pt>
                <c:pt idx="97">
                  <c:v>0.5717652876170362</c:v>
                </c:pt>
                <c:pt idx="98">
                  <c:v>0.5729787608740012</c:v>
                </c:pt>
                <c:pt idx="99">
                  <c:v>0.574185376412645</c:v>
                </c:pt>
                <c:pt idx="100">
                  <c:v>0.5753851922018456</c:v>
                </c:pt>
                <c:pt idx="101">
                  <c:v>0.5765782655589633</c:v>
                </c:pt>
                <c:pt idx="102">
                  <c:v>0.5777646531589661</c:v>
                </c:pt>
                <c:pt idx="103">
                  <c:v>0.578944411043406</c:v>
                </c:pt>
                <c:pt idx="104">
                  <c:v>0.5801175946292422</c:v>
                </c:pt>
                <c:pt idx="105">
                  <c:v>0.58128425871751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aclan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Carrefour (16.6%)</c:v>
                </c:pt>
                <c:pt idx="2">
                  <c:v>Stella (16.1%)</c:v>
                </c:pt>
                <c:pt idx="3">
                  <c:v>Jan Niezbedny (20.2%)</c:v>
                </c:pt>
                <c:pt idx="4">
                  <c:v>Anna Zaradna (3.2%)</c:v>
                </c:pt>
                <c:pt idx="5">
                  <c:v>Grosik (1.1%)</c:v>
                </c:pt>
                <c:pt idx="6">
                  <c:v>Vi Go! (2.2%)</c:v>
                </c:pt>
                <c:pt idx="7">
                  <c:v>Ravi (1.1%)</c:v>
                </c:pt>
              </c:strCache>
            </c:strRef>
          </c:cat>
          <c:val>
            <c:numRef>
              <c:f>Sheet1!$B$2:$B$9</c:f>
              <c:numCache>
                <c:formatCode>General</c:formatCode>
                <c:ptCount val="8"/>
                <c:pt idx="0">
                  <c:v>0.322912377273057</c:v>
                </c:pt>
                <c:pt idx="1">
                  <c:v>0.2934843797765349</c:v>
                </c:pt>
                <c:pt idx="2">
                  <c:v>0.15120859511877288</c:v>
                </c:pt>
                <c:pt idx="3">
                  <c:v>0.1458366598603083</c:v>
                </c:pt>
                <c:pt idx="4">
                  <c:v>0.03808885230866537</c:v>
                </c:pt>
                <c:pt idx="5">
                  <c:v>0.02207392724043819</c:v>
                </c:pt>
                <c:pt idx="6">
                  <c:v>0.01541159966369706</c:v>
                </c:pt>
                <c:pt idx="7">
                  <c:v>0.0109836087586725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B$2:$B$28</c:f>
              <c:numCache>
                <c:formatCode>General</c:formatCode>
                <c:ptCount val="27"/>
                <c:pt idx="0">
                  <c:v>122.74932994602085</c:v>
                </c:pt>
                <c:pt idx="1">
                  <c:v>121.52036927812426</c:v>
                </c:pt>
                <c:pt idx="2">
                  <c:v>120.33124491418678</c:v>
                </c:pt>
                <c:pt idx="3">
                  <c:v>119.17946827900077</c:v>
                </c:pt>
                <c:pt idx="4">
                  <c:v>116.74860316561639</c:v>
                </c:pt>
                <c:pt idx="5">
                  <c:v>114.40815217002762</c:v>
                </c:pt>
                <c:pt idx="6">
                  <c:v>110.92234224511834</c:v>
                </c:pt>
                <c:pt idx="7">
                  <c:v>107.72865566883318</c:v>
                </c:pt>
                <c:pt idx="8">
                  <c:v>104.7962242872399</c:v>
                </c:pt>
                <c:pt idx="9">
                  <c:v>102.09791329060994</c:v>
                </c:pt>
                <c:pt idx="10">
                  <c:v>101.03890703517698</c:v>
                </c:pt>
                <c:pt idx="11">
                  <c:v>100.0</c:v>
                </c:pt>
                <c:pt idx="12">
                  <c:v>98.9806556089198</c:v>
                </c:pt>
                <c:pt idx="13">
                  <c:v>97.98035339058535</c:v>
                </c:pt>
                <c:pt idx="14">
                  <c:v>96.62225183623192</c:v>
                </c:pt>
                <c:pt idx="15">
                  <c:v>95.31263223766356</c:v>
                </c:pt>
                <c:pt idx="16">
                  <c:v>94.04841957375312</c:v>
                </c:pt>
                <c:pt idx="17">
                  <c:v>92.82675710608228</c:v>
                </c:pt>
                <c:pt idx="18">
                  <c:v>91.6449977428732</c:v>
                </c:pt>
                <c:pt idx="19">
                  <c:v>90.04129587048818</c:v>
                </c:pt>
                <c:pt idx="20">
                  <c:v>88.51610702230609</c:v>
                </c:pt>
                <c:pt idx="21">
                  <c:v>87.0630256309019</c:v>
                </c:pt>
                <c:pt idx="22">
                  <c:v>85.67596339513909</c:v>
                </c:pt>
                <c:pt idx="23">
                  <c:v>84.4980388795325</c:v>
                </c:pt>
                <c:pt idx="24">
                  <c:v>83.38398392422603</c:v>
                </c:pt>
                <c:pt idx="25">
                  <c:v>82.32673686137298</c:v>
                </c:pt>
                <c:pt idx="26">
                  <c:v>81.320364385525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C$2:$C$28</c:f>
              <c:numCache>
                <c:formatCode>General</c:formatCode>
                <c:ptCount val="27"/>
                <c:pt idx="0">
                  <c:v>104.8282271674685</c:v>
                </c:pt>
                <c:pt idx="1">
                  <c:v>105.39221539375123</c:v>
                </c:pt>
                <c:pt idx="2">
                  <c:v>105.95825068491523</c:v>
                </c:pt>
                <c:pt idx="3">
                  <c:v>106.5257062168876</c:v>
                </c:pt>
                <c:pt idx="4">
                  <c:v>105.89988633406806</c:v>
                </c:pt>
                <c:pt idx="5">
                  <c:v>105.2932096192607</c:v>
                </c:pt>
                <c:pt idx="6">
                  <c:v>103.5572863417143</c:v>
                </c:pt>
                <c:pt idx="7">
                  <c:v>102.00618580009684</c:v>
                </c:pt>
                <c:pt idx="8">
                  <c:v>100.62171716103603</c:v>
                </c:pt>
                <c:pt idx="9">
                  <c:v>99.38772333940373</c:v>
                </c:pt>
                <c:pt idx="10">
                  <c:v>99.69795491995568</c:v>
                </c:pt>
                <c:pt idx="11">
                  <c:v>100.0</c:v>
                </c:pt>
                <c:pt idx="12">
                  <c:v>100.2941268610666</c:v>
                </c:pt>
                <c:pt idx="13">
                  <c:v>100.58059111342472</c:v>
                </c:pt>
                <c:pt idx="14">
                  <c:v>100.46736962778118</c:v>
                </c:pt>
                <c:pt idx="15">
                  <c:v>100.36927595487136</c:v>
                </c:pt>
                <c:pt idx="16">
                  <c:v>100.28494314404168</c:v>
                </c:pt>
                <c:pt idx="17">
                  <c:v>100.21307921416368</c:v>
                </c:pt>
                <c:pt idx="18">
                  <c:v>100.15247189956202</c:v>
                </c:pt>
                <c:pt idx="19">
                  <c:v>99.5963725442268</c:v>
                </c:pt>
                <c:pt idx="20">
                  <c:v>99.08563580995133</c:v>
                </c:pt>
                <c:pt idx="21">
                  <c:v>98.61611588600195</c:v>
                </c:pt>
                <c:pt idx="22">
                  <c:v>98.18369511177373</c:v>
                </c:pt>
                <c:pt idx="23">
                  <c:v>97.95707100517744</c:v>
                </c:pt>
                <c:pt idx="24">
                  <c:v>97.77390485440132</c:v>
                </c:pt>
                <c:pt idx="25">
                  <c:v>97.62837578758152</c:v>
                </c:pt>
                <c:pt idx="26">
                  <c:v>97.5156396824901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D$2:$D$28</c:f>
              <c:numCache>
                <c:formatCode>General</c:formatCode>
                <c:ptCount val="27"/>
                <c:pt idx="0">
                  <c:v>52.23177529934928</c:v>
                </c:pt>
                <c:pt idx="1">
                  <c:v>58.07055441216959</c:v>
                </c:pt>
                <c:pt idx="2">
                  <c:v>63.80060151394604</c:v>
                </c:pt>
                <c:pt idx="3">
                  <c:v>69.42681559007853</c:v>
                </c:pt>
                <c:pt idx="4">
                  <c:v>74.1115533796675</c:v>
                </c:pt>
                <c:pt idx="5">
                  <c:v>78.60251631269955</c:v>
                </c:pt>
                <c:pt idx="6">
                  <c:v>81.9913006659039</c:v>
                </c:pt>
                <c:pt idx="7">
                  <c:v>85.2466166579181</c:v>
                </c:pt>
                <c:pt idx="8">
                  <c:v>88.38839416840489</c:v>
                </c:pt>
                <c:pt idx="9">
                  <c:v>91.43340581783123</c:v>
                </c:pt>
                <c:pt idx="10">
                  <c:v>95.76232577361503</c:v>
                </c:pt>
                <c:pt idx="11">
                  <c:v>100.0</c:v>
                </c:pt>
                <c:pt idx="12">
                  <c:v>104.14905657002524</c:v>
                </c:pt>
                <c:pt idx="13">
                  <c:v>108.21202674081758</c:v>
                </c:pt>
                <c:pt idx="14">
                  <c:v>111.75264129761375</c:v>
                </c:pt>
                <c:pt idx="15">
                  <c:v>115.20953175548347</c:v>
                </c:pt>
                <c:pt idx="16">
                  <c:v>118.58646196356078</c:v>
                </c:pt>
                <c:pt idx="17">
                  <c:v>121.8868348826385</c:v>
                </c:pt>
                <c:pt idx="18">
                  <c:v>125.11373852560683</c:v>
                </c:pt>
                <c:pt idx="19">
                  <c:v>127.61426709863235</c:v>
                </c:pt>
                <c:pt idx="20">
                  <c:v>130.06276016868662</c:v>
                </c:pt>
                <c:pt idx="21">
                  <c:v>132.46177207848118</c:v>
                </c:pt>
                <c:pt idx="22">
                  <c:v>134.81301412172996</c:v>
                </c:pt>
                <c:pt idx="23">
                  <c:v>137.35926929644822</c:v>
                </c:pt>
                <c:pt idx="24">
                  <c:v>139.88997388609303</c:v>
                </c:pt>
                <c:pt idx="25">
                  <c:v>142.4028668423665</c:v>
                </c:pt>
                <c:pt idx="26">
                  <c:v>144.896233186700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E$2:$E$28</c:f>
              <c:numCache>
                <c:formatCode>General</c:formatCode>
                <c:ptCount val="27"/>
                <c:pt idx="0">
                  <c:v>0.12908799492709092</c:v>
                </c:pt>
                <c:pt idx="1">
                  <c:v>0.142717290781127</c:v>
                </c:pt>
                <c:pt idx="2">
                  <c:v>0.15592657751793548</c:v>
                </c:pt>
                <c:pt idx="3">
                  <c:v>0.16873497543116855</c:v>
                </c:pt>
                <c:pt idx="4">
                  <c:v>0.18116046159811633</c:v>
                </c:pt>
                <c:pt idx="5">
                  <c:v>0.19321995406353468</c:v>
                </c:pt>
                <c:pt idx="6">
                  <c:v>0.20492938869251073</c:v>
                </c:pt>
                <c:pt idx="7">
                  <c:v>0.2163037894265233</c:v>
                </c:pt>
                <c:pt idx="8">
                  <c:v>0.22735733259399143</c:v>
                </c:pt>
                <c:pt idx="9">
                  <c:v>0.2381034058541587</c:v>
                </c:pt>
                <c:pt idx="10">
                  <c:v>0.2485546622896296</c:v>
                </c:pt>
                <c:pt idx="11">
                  <c:v>0.2587230701070909</c:v>
                </c:pt>
                <c:pt idx="12">
                  <c:v>0.2686199583566624</c:v>
                </c:pt>
                <c:pt idx="13">
                  <c:v>0.27825605903707523</c:v>
                </c:pt>
                <c:pt idx="14">
                  <c:v>0.28764154591565666</c:v>
                </c:pt>
                <c:pt idx="15">
                  <c:v>0.29678607035833104</c:v>
                </c:pt>
                <c:pt idx="16">
                  <c:v>0.30569879443490505</c:v>
                </c:pt>
                <c:pt idx="17">
                  <c:v>0.31438842153834806</c:v>
                </c:pt>
                <c:pt idx="18">
                  <c:v>0.3228632247331768</c:v>
                </c:pt>
                <c:pt idx="19">
                  <c:v>0.33113107302703304</c:v>
                </c:pt>
                <c:pt idx="20">
                  <c:v>0.3391994557408201</c:v>
                </c:pt>
                <c:pt idx="21">
                  <c:v>0.3470755051360428</c:v>
                </c:pt>
                <c:pt idx="22">
                  <c:v>0.354766017443039</c:v>
                </c:pt>
                <c:pt idx="23">
                  <c:v>0.3622774724204191</c:v>
                </c:pt>
                <c:pt idx="24">
                  <c:v>0.3696160515640278</c:v>
                </c:pt>
                <c:pt idx="25">
                  <c:v>0.37678765507296935</c:v>
                </c:pt>
                <c:pt idx="26">
                  <c:v>0.383797917670573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1</c:f>
              <c:strCache>
                <c:ptCount val="50"/>
                <c:pt idx="0">
                  <c:v>11.89</c:v>
                </c:pt>
                <c:pt idx="1">
                  <c:v>11.99</c:v>
                </c:pt>
                <c:pt idx="2">
                  <c:v>12.09</c:v>
                </c:pt>
                <c:pt idx="3">
                  <c:v>12.19</c:v>
                </c:pt>
                <c:pt idx="4">
                  <c:v>12.29</c:v>
                </c:pt>
                <c:pt idx="5">
                  <c:v>12.39</c:v>
                </c:pt>
                <c:pt idx="6">
                  <c:v>12.49</c:v>
                </c:pt>
                <c:pt idx="7">
                  <c:v>12.59</c:v>
                </c:pt>
                <c:pt idx="8">
                  <c:v>12.69</c:v>
                </c:pt>
                <c:pt idx="9">
                  <c:v>12.79</c:v>
                </c:pt>
                <c:pt idx="10">
                  <c:v>12.89</c:v>
                </c:pt>
                <c:pt idx="11">
                  <c:v>12.99</c:v>
                </c:pt>
                <c:pt idx="12">
                  <c:v>13.09</c:v>
                </c:pt>
                <c:pt idx="13">
                  <c:v>13.19</c:v>
                </c:pt>
                <c:pt idx="14">
                  <c:v>13.29</c:v>
                </c:pt>
                <c:pt idx="15">
                  <c:v>13.39</c:v>
                </c:pt>
                <c:pt idx="16">
                  <c:v>13.49</c:v>
                </c:pt>
                <c:pt idx="17">
                  <c:v>13.59</c:v>
                </c:pt>
                <c:pt idx="18">
                  <c:v>13.69</c:v>
                </c:pt>
                <c:pt idx="19">
                  <c:v>13.79</c:v>
                </c:pt>
                <c:pt idx="20">
                  <c:v>13.89</c:v>
                </c:pt>
                <c:pt idx="21">
                  <c:v>13.99</c:v>
                </c:pt>
                <c:pt idx="22">
                  <c:v>14.09</c:v>
                </c:pt>
                <c:pt idx="23">
                  <c:v>14.19</c:v>
                </c:pt>
                <c:pt idx="24">
                  <c:v>14.29</c:v>
                </c:pt>
                <c:pt idx="25">
                  <c:v>14.39</c:v>
                </c:pt>
                <c:pt idx="26">
                  <c:v>14.49</c:v>
                </c:pt>
                <c:pt idx="27">
                  <c:v>14.59</c:v>
                </c:pt>
                <c:pt idx="28">
                  <c:v>14.69</c:v>
                </c:pt>
                <c:pt idx="29">
                  <c:v>14.79</c:v>
                </c:pt>
                <c:pt idx="30">
                  <c:v>14.89</c:v>
                </c:pt>
                <c:pt idx="31">
                  <c:v>14.99</c:v>
                </c:pt>
                <c:pt idx="32">
                  <c:v>15.09</c:v>
                </c:pt>
                <c:pt idx="33">
                  <c:v>15.19</c:v>
                </c:pt>
                <c:pt idx="34">
                  <c:v>15.29</c:v>
                </c:pt>
                <c:pt idx="35">
                  <c:v>15.39</c:v>
                </c:pt>
                <c:pt idx="36">
                  <c:v>15.49</c:v>
                </c:pt>
                <c:pt idx="37">
                  <c:v>15.59</c:v>
                </c:pt>
                <c:pt idx="38">
                  <c:v>15.69</c:v>
                </c:pt>
                <c:pt idx="39">
                  <c:v>15.79</c:v>
                </c:pt>
                <c:pt idx="40">
                  <c:v>15.89</c:v>
                </c:pt>
                <c:pt idx="41">
                  <c:v>15.99</c:v>
                </c:pt>
                <c:pt idx="42">
                  <c:v>16.09</c:v>
                </c:pt>
                <c:pt idx="43">
                  <c:v>16.19</c:v>
                </c:pt>
                <c:pt idx="44">
                  <c:v>16.29</c:v>
                </c:pt>
                <c:pt idx="45">
                  <c:v>16.39</c:v>
                </c:pt>
                <c:pt idx="46">
                  <c:v>16.49</c:v>
                </c:pt>
                <c:pt idx="47">
                  <c:v>16.59</c:v>
                </c:pt>
                <c:pt idx="48">
                  <c:v>16.69</c:v>
                </c:pt>
                <c:pt idx="49">
                  <c:v>16.79</c:v>
                </c:pt>
              </c:strCache>
            </c:strRef>
          </c:cat>
          <c:val>
            <c:numRef>
              <c:f>Sheet1!$B$2:$B$51</c:f>
              <c:numCache>
                <c:formatCode>General</c:formatCode>
                <c:ptCount val="50"/>
                <c:pt idx="0">
                  <c:v>123.47395746981391</c:v>
                </c:pt>
                <c:pt idx="1">
                  <c:v>122.3888346933595</c:v>
                </c:pt>
                <c:pt idx="2">
                  <c:v>120.90133443723603</c:v>
                </c:pt>
                <c:pt idx="3">
                  <c:v>119.4528894746621</c:v>
                </c:pt>
                <c:pt idx="4">
                  <c:v>118.0418984017008</c:v>
                </c:pt>
                <c:pt idx="5">
                  <c:v>116.66684442297061</c:v>
                </c:pt>
                <c:pt idx="6">
                  <c:v>115.32629003823172</c:v>
                </c:pt>
                <c:pt idx="7">
                  <c:v>114.01887210520596</c:v>
                </c:pt>
                <c:pt idx="8">
                  <c:v>112.74329725038159</c:v>
                </c:pt>
                <c:pt idx="9">
                  <c:v>111.49833760158674</c:v>
                </c:pt>
                <c:pt idx="10">
                  <c:v>110.28282681804417</c:v>
                </c:pt>
                <c:pt idx="11">
                  <c:v>109.09565639544154</c:v>
                </c:pt>
                <c:pt idx="12">
                  <c:v>107.93577222526302</c:v>
                </c:pt>
                <c:pt idx="13">
                  <c:v>106.80217138921546</c:v>
                </c:pt>
                <c:pt idx="14">
                  <c:v>105.88616845264968</c:v>
                </c:pt>
                <c:pt idx="15">
                  <c:v>104.99039659450946</c:v>
                </c:pt>
                <c:pt idx="16">
                  <c:v>104.11408486728477</c:v>
                </c:pt>
                <c:pt idx="17">
                  <c:v>103.25650049998549</c:v>
                </c:pt>
                <c:pt idx="18">
                  <c:v>102.41694673730267</c:v>
                </c:pt>
                <c:pt idx="19">
                  <c:v>101.5947608103483</c:v>
                </c:pt>
                <c:pt idx="20">
                  <c:v>100.78931203070272</c:v>
                </c:pt>
                <c:pt idx="21">
                  <c:v>100.0</c:v>
                </c:pt>
                <c:pt idx="22">
                  <c:v>99.22625292777404</c:v>
                </c:pt>
                <c:pt idx="23">
                  <c:v>98.46752605074697</c:v>
                </c:pt>
                <c:pt idx="24">
                  <c:v>97.72330014716103</c:v>
                </c:pt>
                <c:pt idx="25">
                  <c:v>96.99308014017727</c:v>
                </c:pt>
                <c:pt idx="26">
                  <c:v>96.27639378472679</c:v>
                </c:pt>
                <c:pt idx="27">
                  <c:v>95.5727904325735</c:v>
                </c:pt>
                <c:pt idx="28">
                  <c:v>94.88183987067202</c:v>
                </c:pt>
                <c:pt idx="29">
                  <c:v>94.20313122822877</c:v>
                </c:pt>
                <c:pt idx="30">
                  <c:v>93.53627194815812</c:v>
                </c:pt>
                <c:pt idx="31">
                  <c:v>92.88088681891706</c:v>
                </c:pt>
                <c:pt idx="32">
                  <c:v>92.20851365033847</c:v>
                </c:pt>
                <c:pt idx="33">
                  <c:v>91.54396315628038</c:v>
                </c:pt>
                <c:pt idx="34">
                  <c:v>90.88709901006928</c:v>
                </c:pt>
                <c:pt idx="35">
                  <c:v>90.23778795922169</c:v>
                </c:pt>
                <c:pt idx="36">
                  <c:v>89.59589974593192</c:v>
                </c:pt>
                <c:pt idx="37">
                  <c:v>88.9613070297138</c:v>
                </c:pt>
                <c:pt idx="38">
                  <c:v>88.33388531214108</c:v>
                </c:pt>
                <c:pt idx="39">
                  <c:v>87.71351286363883</c:v>
                </c:pt>
                <c:pt idx="40">
                  <c:v>87.10007065226038</c:v>
                </c:pt>
                <c:pt idx="41">
                  <c:v>86.49344227441102</c:v>
                </c:pt>
                <c:pt idx="42">
                  <c:v>85.89351388745995</c:v>
                </c:pt>
                <c:pt idx="43">
                  <c:v>85.30017414419109</c:v>
                </c:pt>
                <c:pt idx="44">
                  <c:v>84.71331412904568</c:v>
                </c:pt>
                <c:pt idx="45">
                  <c:v>84.13282729610843</c:v>
                </c:pt>
                <c:pt idx="46">
                  <c:v>83.5586094087886</c:v>
                </c:pt>
                <c:pt idx="47">
                  <c:v>82.99055848115333</c:v>
                </c:pt>
                <c:pt idx="48">
                  <c:v>82.42857472086487</c:v>
                </c:pt>
                <c:pt idx="49">
                  <c:v>81.872560473681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1</c:f>
              <c:strCache>
                <c:ptCount val="50"/>
                <c:pt idx="0">
                  <c:v>11.89</c:v>
                </c:pt>
                <c:pt idx="1">
                  <c:v>11.99</c:v>
                </c:pt>
                <c:pt idx="2">
                  <c:v>12.09</c:v>
                </c:pt>
                <c:pt idx="3">
                  <c:v>12.19</c:v>
                </c:pt>
                <c:pt idx="4">
                  <c:v>12.29</c:v>
                </c:pt>
                <c:pt idx="5">
                  <c:v>12.39</c:v>
                </c:pt>
                <c:pt idx="6">
                  <c:v>12.49</c:v>
                </c:pt>
                <c:pt idx="7">
                  <c:v>12.59</c:v>
                </c:pt>
                <c:pt idx="8">
                  <c:v>12.69</c:v>
                </c:pt>
                <c:pt idx="9">
                  <c:v>12.79</c:v>
                </c:pt>
                <c:pt idx="10">
                  <c:v>12.89</c:v>
                </c:pt>
                <c:pt idx="11">
                  <c:v>12.99</c:v>
                </c:pt>
                <c:pt idx="12">
                  <c:v>13.09</c:v>
                </c:pt>
                <c:pt idx="13">
                  <c:v>13.19</c:v>
                </c:pt>
                <c:pt idx="14">
                  <c:v>13.29</c:v>
                </c:pt>
                <c:pt idx="15">
                  <c:v>13.39</c:v>
                </c:pt>
                <c:pt idx="16">
                  <c:v>13.49</c:v>
                </c:pt>
                <c:pt idx="17">
                  <c:v>13.59</c:v>
                </c:pt>
                <c:pt idx="18">
                  <c:v>13.69</c:v>
                </c:pt>
                <c:pt idx="19">
                  <c:v>13.79</c:v>
                </c:pt>
                <c:pt idx="20">
                  <c:v>13.89</c:v>
                </c:pt>
                <c:pt idx="21">
                  <c:v>13.99</c:v>
                </c:pt>
                <c:pt idx="22">
                  <c:v>14.09</c:v>
                </c:pt>
                <c:pt idx="23">
                  <c:v>14.19</c:v>
                </c:pt>
                <c:pt idx="24">
                  <c:v>14.29</c:v>
                </c:pt>
                <c:pt idx="25">
                  <c:v>14.39</c:v>
                </c:pt>
                <c:pt idx="26">
                  <c:v>14.49</c:v>
                </c:pt>
                <c:pt idx="27">
                  <c:v>14.59</c:v>
                </c:pt>
                <c:pt idx="28">
                  <c:v>14.69</c:v>
                </c:pt>
                <c:pt idx="29">
                  <c:v>14.79</c:v>
                </c:pt>
                <c:pt idx="30">
                  <c:v>14.89</c:v>
                </c:pt>
                <c:pt idx="31">
                  <c:v>14.99</c:v>
                </c:pt>
                <c:pt idx="32">
                  <c:v>15.09</c:v>
                </c:pt>
                <c:pt idx="33">
                  <c:v>15.19</c:v>
                </c:pt>
                <c:pt idx="34">
                  <c:v>15.29</c:v>
                </c:pt>
                <c:pt idx="35">
                  <c:v>15.39</c:v>
                </c:pt>
                <c:pt idx="36">
                  <c:v>15.49</c:v>
                </c:pt>
                <c:pt idx="37">
                  <c:v>15.59</c:v>
                </c:pt>
                <c:pt idx="38">
                  <c:v>15.69</c:v>
                </c:pt>
                <c:pt idx="39">
                  <c:v>15.79</c:v>
                </c:pt>
                <c:pt idx="40">
                  <c:v>15.89</c:v>
                </c:pt>
                <c:pt idx="41">
                  <c:v>15.99</c:v>
                </c:pt>
                <c:pt idx="42">
                  <c:v>16.09</c:v>
                </c:pt>
                <c:pt idx="43">
                  <c:v>16.19</c:v>
                </c:pt>
                <c:pt idx="44">
                  <c:v>16.29</c:v>
                </c:pt>
                <c:pt idx="45">
                  <c:v>16.39</c:v>
                </c:pt>
                <c:pt idx="46">
                  <c:v>16.49</c:v>
                </c:pt>
                <c:pt idx="47">
                  <c:v>16.59</c:v>
                </c:pt>
                <c:pt idx="48">
                  <c:v>16.69</c:v>
                </c:pt>
                <c:pt idx="49">
                  <c:v>16.79</c:v>
                </c:pt>
              </c:strCache>
            </c:strRef>
          </c:cat>
          <c:val>
            <c:numRef>
              <c:f>Sheet1!$C$2:$C$51</c:f>
              <c:numCache>
                <c:formatCode>General</c:formatCode>
                <c:ptCount val="50"/>
                <c:pt idx="0">
                  <c:v>105.02632911765686</c:v>
                </c:pt>
                <c:pt idx="1">
                  <c:v>104.97260892794964</c:v>
                </c:pt>
                <c:pt idx="2">
                  <c:v>104.55740917076245</c:v>
                </c:pt>
                <c:pt idx="3">
                  <c:v>104.15509608378011</c:v>
                </c:pt>
                <c:pt idx="4">
                  <c:v>103.76509503147157</c:v>
                </c:pt>
                <c:pt idx="5">
                  <c:v>103.38686086225096</c:v>
                </c:pt>
                <c:pt idx="6">
                  <c:v>103.01987616279307</c:v>
                </c:pt>
                <c:pt idx="7">
                  <c:v>102.66364962531316</c:v>
                </c:pt>
                <c:pt idx="8">
                  <c:v>102.31771452078611</c:v>
                </c:pt>
                <c:pt idx="9">
                  <c:v>101.98162727135627</c:v>
                </c:pt>
                <c:pt idx="10">
                  <c:v>101.65496611547886</c:v>
                </c:pt>
                <c:pt idx="11">
                  <c:v>101.33732985966202</c:v>
                </c:pt>
                <c:pt idx="12">
                  <c:v>101.02833671100875</c:v>
                </c:pt>
                <c:pt idx="13">
                  <c:v>100.72762318508374</c:v>
                </c:pt>
                <c:pt idx="14">
                  <c:v>100.61659515782522</c:v>
                </c:pt>
                <c:pt idx="15">
                  <c:v>100.51188897899277</c:v>
                </c:pt>
                <c:pt idx="16">
                  <c:v>100.41319340228469</c:v>
                </c:pt>
                <c:pt idx="17">
                  <c:v>100.32021233124556</c:v>
                </c:pt>
                <c:pt idx="18">
                  <c:v>100.23266406103792</c:v>
                </c:pt>
                <c:pt idx="19">
                  <c:v>100.15028055789026</c:v>
                </c:pt>
                <c:pt idx="20">
                  <c:v>100.07280677453633</c:v>
                </c:pt>
                <c:pt idx="21">
                  <c:v>100.0</c:v>
                </c:pt>
                <c:pt idx="22">
                  <c:v>99.93162924212778</c:v>
                </c:pt>
                <c:pt idx="23">
                  <c:v>99.86747464133101</c:v>
                </c:pt>
                <c:pt idx="24">
                  <c:v>99.8073269140392</c:v>
                </c:pt>
                <c:pt idx="25">
                  <c:v>99.75098682443677</c:v>
                </c:pt>
                <c:pt idx="26">
                  <c:v>99.69826468309473</c:v>
                </c:pt>
                <c:pt idx="27">
                  <c:v>99.64897987117769</c:v>
                </c:pt>
                <c:pt idx="28">
                  <c:v>99.60296038894928</c:v>
                </c:pt>
                <c:pt idx="29">
                  <c:v>99.56004242736701</c:v>
                </c:pt>
                <c:pt idx="30">
                  <c:v>99.52006996159564</c:v>
                </c:pt>
                <c:pt idx="31">
                  <c:v>99.48289436533572</c:v>
                </c:pt>
                <c:pt idx="32">
                  <c:v>99.4182366417564</c:v>
                </c:pt>
                <c:pt idx="33">
                  <c:v>99.35252415158382</c:v>
                </c:pt>
                <c:pt idx="34">
                  <c:v>99.28577462849225</c:v>
                </c:pt>
                <c:pt idx="35">
                  <c:v>99.21800531054248</c:v>
                </c:pt>
                <c:pt idx="36">
                  <c:v>99.14923296150347</c:v>
                </c:pt>
                <c:pt idx="37">
                  <c:v>99.07947389117663</c:v>
                </c:pt>
                <c:pt idx="38">
                  <c:v>99.00874397476849</c:v>
                </c:pt>
                <c:pt idx="39">
                  <c:v>98.9370586713618</c:v>
                </c:pt>
                <c:pt idx="40">
                  <c:v>98.86443304151513</c:v>
                </c:pt>
                <c:pt idx="41">
                  <c:v>98.79088176404399</c:v>
                </c:pt>
                <c:pt idx="42">
                  <c:v>98.71641915201444</c:v>
                </c:pt>
                <c:pt idx="43">
                  <c:v>98.6410591679861</c:v>
                </c:pt>
                <c:pt idx="44">
                  <c:v>98.56481543854183</c:v>
                </c:pt>
                <c:pt idx="45">
                  <c:v>98.48770126813588</c:v>
                </c:pt>
                <c:pt idx="46">
                  <c:v>98.40972965229233</c:v>
                </c:pt>
                <c:pt idx="47">
                  <c:v>98.3309132901856</c:v>
                </c:pt>
                <c:pt idx="48">
                  <c:v>98.25126459662957</c:v>
                </c:pt>
                <c:pt idx="49">
                  <c:v>98.170795713505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1</c:f>
              <c:strCache>
                <c:ptCount val="50"/>
                <c:pt idx="0">
                  <c:v>11.89</c:v>
                </c:pt>
                <c:pt idx="1">
                  <c:v>11.99</c:v>
                </c:pt>
                <c:pt idx="2">
                  <c:v>12.09</c:v>
                </c:pt>
                <c:pt idx="3">
                  <c:v>12.19</c:v>
                </c:pt>
                <c:pt idx="4">
                  <c:v>12.29</c:v>
                </c:pt>
                <c:pt idx="5">
                  <c:v>12.39</c:v>
                </c:pt>
                <c:pt idx="6">
                  <c:v>12.49</c:v>
                </c:pt>
                <c:pt idx="7">
                  <c:v>12.59</c:v>
                </c:pt>
                <c:pt idx="8">
                  <c:v>12.69</c:v>
                </c:pt>
                <c:pt idx="9">
                  <c:v>12.79</c:v>
                </c:pt>
                <c:pt idx="10">
                  <c:v>12.89</c:v>
                </c:pt>
                <c:pt idx="11">
                  <c:v>12.99</c:v>
                </c:pt>
                <c:pt idx="12">
                  <c:v>13.09</c:v>
                </c:pt>
                <c:pt idx="13">
                  <c:v>13.19</c:v>
                </c:pt>
                <c:pt idx="14">
                  <c:v>13.29</c:v>
                </c:pt>
                <c:pt idx="15">
                  <c:v>13.39</c:v>
                </c:pt>
                <c:pt idx="16">
                  <c:v>13.49</c:v>
                </c:pt>
                <c:pt idx="17">
                  <c:v>13.59</c:v>
                </c:pt>
                <c:pt idx="18">
                  <c:v>13.69</c:v>
                </c:pt>
                <c:pt idx="19">
                  <c:v>13.79</c:v>
                </c:pt>
                <c:pt idx="20">
                  <c:v>13.89</c:v>
                </c:pt>
                <c:pt idx="21">
                  <c:v>13.99</c:v>
                </c:pt>
                <c:pt idx="22">
                  <c:v>14.09</c:v>
                </c:pt>
                <c:pt idx="23">
                  <c:v>14.19</c:v>
                </c:pt>
                <c:pt idx="24">
                  <c:v>14.29</c:v>
                </c:pt>
                <c:pt idx="25">
                  <c:v>14.39</c:v>
                </c:pt>
                <c:pt idx="26">
                  <c:v>14.49</c:v>
                </c:pt>
                <c:pt idx="27">
                  <c:v>14.59</c:v>
                </c:pt>
                <c:pt idx="28">
                  <c:v>14.69</c:v>
                </c:pt>
                <c:pt idx="29">
                  <c:v>14.79</c:v>
                </c:pt>
                <c:pt idx="30">
                  <c:v>14.89</c:v>
                </c:pt>
                <c:pt idx="31">
                  <c:v>14.99</c:v>
                </c:pt>
                <c:pt idx="32">
                  <c:v>15.09</c:v>
                </c:pt>
                <c:pt idx="33">
                  <c:v>15.19</c:v>
                </c:pt>
                <c:pt idx="34">
                  <c:v>15.29</c:v>
                </c:pt>
                <c:pt idx="35">
                  <c:v>15.39</c:v>
                </c:pt>
                <c:pt idx="36">
                  <c:v>15.49</c:v>
                </c:pt>
                <c:pt idx="37">
                  <c:v>15.59</c:v>
                </c:pt>
                <c:pt idx="38">
                  <c:v>15.69</c:v>
                </c:pt>
                <c:pt idx="39">
                  <c:v>15.79</c:v>
                </c:pt>
                <c:pt idx="40">
                  <c:v>15.89</c:v>
                </c:pt>
                <c:pt idx="41">
                  <c:v>15.99</c:v>
                </c:pt>
                <c:pt idx="42">
                  <c:v>16.09</c:v>
                </c:pt>
                <c:pt idx="43">
                  <c:v>16.19</c:v>
                </c:pt>
                <c:pt idx="44">
                  <c:v>16.29</c:v>
                </c:pt>
                <c:pt idx="45">
                  <c:v>16.39</c:v>
                </c:pt>
                <c:pt idx="46">
                  <c:v>16.49</c:v>
                </c:pt>
                <c:pt idx="47">
                  <c:v>16.59</c:v>
                </c:pt>
                <c:pt idx="48">
                  <c:v>16.69</c:v>
                </c:pt>
                <c:pt idx="49">
                  <c:v>16.79</c:v>
                </c:pt>
              </c:strCache>
            </c:strRef>
          </c:cat>
          <c:val>
            <c:numRef>
              <c:f>Sheet1!$D$2:$D$51</c:f>
              <c:numCache>
                <c:formatCode>General</c:formatCode>
                <c:ptCount val="50"/>
                <c:pt idx="0">
                  <c:v>81.81983803511662</c:v>
                </c:pt>
                <c:pt idx="1">
                  <c:v>83.0683542508413</c:v>
                </c:pt>
                <c:pt idx="2">
                  <c:v>84.00115313577976</c:v>
                </c:pt>
                <c:pt idx="3">
                  <c:v>84.91385608563986</c:v>
                </c:pt>
                <c:pt idx="4">
                  <c:v>85.80718602656148</c:v>
                </c:pt>
                <c:pt idx="5">
                  <c:v>86.68182546491572</c:v>
                </c:pt>
                <c:pt idx="6">
                  <c:v>87.53841928414005</c:v>
                </c:pt>
                <c:pt idx="7">
                  <c:v>88.37757731766924</c:v>
                </c:pt>
                <c:pt idx="8">
                  <c:v>89.19987671828737</c:v>
                </c:pt>
                <c:pt idx="9">
                  <c:v>90.00586414219816</c:v>
                </c:pt>
                <c:pt idx="10">
                  <c:v>90.7960577642853</c:v>
                </c:pt>
                <c:pt idx="11">
                  <c:v>91.57094913941435</c:v>
                </c:pt>
                <c:pt idx="12">
                  <c:v>92.33100492317206</c:v>
                </c:pt>
                <c:pt idx="13">
                  <c:v>93.07666846413223</c:v>
                </c:pt>
                <c:pt idx="14">
                  <c:v>93.97945807329494</c:v>
                </c:pt>
                <c:pt idx="15">
                  <c:v>94.87106737674125</c:v>
                </c:pt>
                <c:pt idx="16">
                  <c:v>95.75176392436296</c:v>
                </c:pt>
                <c:pt idx="17">
                  <c:v>96.62180134661335</c:v>
                </c:pt>
                <c:pt idx="18">
                  <c:v>97.4814203727979</c:v>
                </c:pt>
                <c:pt idx="19">
                  <c:v>98.33084976764192</c:v>
                </c:pt>
                <c:pt idx="20">
                  <c:v>99.17030719287536</c:v>
                </c:pt>
                <c:pt idx="21">
                  <c:v>100.0</c:v>
                </c:pt>
                <c:pt idx="22">
                  <c:v>100.8201259599022</c:v>
                </c:pt>
                <c:pt idx="23">
                  <c:v>101.63087393450188</c:v>
                </c:pt>
                <c:pt idx="24">
                  <c:v>102.43242449519299</c:v>
                </c:pt>
                <c:pt idx="25">
                  <c:v>103.22495049244418</c:v>
                </c:pt>
                <c:pt idx="26">
                  <c:v>104.0086175805548</c:v>
                </c:pt>
                <c:pt idx="27">
                  <c:v>104.78358470123877</c:v>
                </c:pt>
                <c:pt idx="28">
                  <c:v>105.55000452939672</c:v>
                </c:pt>
                <c:pt idx="29">
                  <c:v>106.3080238841662</c:v>
                </c:pt>
                <c:pt idx="30">
                  <c:v>107.0577841080714</c:v>
                </c:pt>
                <c:pt idx="31">
                  <c:v>107.7994214168768</c:v>
                </c:pt>
                <c:pt idx="32">
                  <c:v>108.50001362580129</c:v>
                </c:pt>
                <c:pt idx="33">
                  <c:v>109.18830930559726</c:v>
                </c:pt>
                <c:pt idx="34">
                  <c:v>109.86452174100366</c:v>
                </c:pt>
                <c:pt idx="35">
                  <c:v>110.52885918128842</c:v>
                </c:pt>
                <c:pt idx="36">
                  <c:v>111.18152499017349</c:v>
                </c:pt>
                <c:pt idx="37">
                  <c:v>111.82271779072803</c:v>
                </c:pt>
                <c:pt idx="38">
                  <c:v>112.45263160540757</c:v>
                </c:pt>
                <c:pt idx="39">
                  <c:v>113.07145599141441</c:v>
                </c:pt>
                <c:pt idx="40">
                  <c:v>113.67937617153177</c:v>
                </c:pt>
                <c:pt idx="41">
                  <c:v>114.27657316060183</c:v>
                </c:pt>
                <c:pt idx="42">
                  <c:v>114.86322388779344</c:v>
                </c:pt>
                <c:pt idx="43">
                  <c:v>115.43950131481029</c:v>
                </c:pt>
                <c:pt idx="44">
                  <c:v>116.00557455017884</c:v>
                </c:pt>
                <c:pt idx="45">
                  <c:v>116.56160895975833</c:v>
                </c:pt>
                <c:pt idx="46">
                  <c:v>117.10776627360042</c:v>
                </c:pt>
                <c:pt idx="47">
                  <c:v>117.6442046892908</c:v>
                </c:pt>
                <c:pt idx="48">
                  <c:v>118.17107897189287</c:v>
                </c:pt>
                <c:pt idx="49">
                  <c:v>118.6885405506156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1</c:f>
              <c:strCache>
                <c:ptCount val="50"/>
                <c:pt idx="0">
                  <c:v>11.89</c:v>
                </c:pt>
                <c:pt idx="1">
                  <c:v>11.99</c:v>
                </c:pt>
                <c:pt idx="2">
                  <c:v>12.09</c:v>
                </c:pt>
                <c:pt idx="3">
                  <c:v>12.19</c:v>
                </c:pt>
                <c:pt idx="4">
                  <c:v>12.29</c:v>
                </c:pt>
                <c:pt idx="5">
                  <c:v>12.39</c:v>
                </c:pt>
                <c:pt idx="6">
                  <c:v>12.49</c:v>
                </c:pt>
                <c:pt idx="7">
                  <c:v>12.59</c:v>
                </c:pt>
                <c:pt idx="8">
                  <c:v>12.69</c:v>
                </c:pt>
                <c:pt idx="9">
                  <c:v>12.79</c:v>
                </c:pt>
                <c:pt idx="10">
                  <c:v>12.89</c:v>
                </c:pt>
                <c:pt idx="11">
                  <c:v>12.99</c:v>
                </c:pt>
                <c:pt idx="12">
                  <c:v>13.09</c:v>
                </c:pt>
                <c:pt idx="13">
                  <c:v>13.19</c:v>
                </c:pt>
                <c:pt idx="14">
                  <c:v>13.29</c:v>
                </c:pt>
                <c:pt idx="15">
                  <c:v>13.39</c:v>
                </c:pt>
                <c:pt idx="16">
                  <c:v>13.49</c:v>
                </c:pt>
                <c:pt idx="17">
                  <c:v>13.59</c:v>
                </c:pt>
                <c:pt idx="18">
                  <c:v>13.69</c:v>
                </c:pt>
                <c:pt idx="19">
                  <c:v>13.79</c:v>
                </c:pt>
                <c:pt idx="20">
                  <c:v>13.89</c:v>
                </c:pt>
                <c:pt idx="21">
                  <c:v>13.99</c:v>
                </c:pt>
                <c:pt idx="22">
                  <c:v>14.09</c:v>
                </c:pt>
                <c:pt idx="23">
                  <c:v>14.19</c:v>
                </c:pt>
                <c:pt idx="24">
                  <c:v>14.29</c:v>
                </c:pt>
                <c:pt idx="25">
                  <c:v>14.39</c:v>
                </c:pt>
                <c:pt idx="26">
                  <c:v>14.49</c:v>
                </c:pt>
                <c:pt idx="27">
                  <c:v>14.59</c:v>
                </c:pt>
                <c:pt idx="28">
                  <c:v>14.69</c:v>
                </c:pt>
                <c:pt idx="29">
                  <c:v>14.79</c:v>
                </c:pt>
                <c:pt idx="30">
                  <c:v>14.89</c:v>
                </c:pt>
                <c:pt idx="31">
                  <c:v>14.99</c:v>
                </c:pt>
                <c:pt idx="32">
                  <c:v>15.09</c:v>
                </c:pt>
                <c:pt idx="33">
                  <c:v>15.19</c:v>
                </c:pt>
                <c:pt idx="34">
                  <c:v>15.29</c:v>
                </c:pt>
                <c:pt idx="35">
                  <c:v>15.39</c:v>
                </c:pt>
                <c:pt idx="36">
                  <c:v>15.49</c:v>
                </c:pt>
                <c:pt idx="37">
                  <c:v>15.59</c:v>
                </c:pt>
                <c:pt idx="38">
                  <c:v>15.69</c:v>
                </c:pt>
                <c:pt idx="39">
                  <c:v>15.79</c:v>
                </c:pt>
                <c:pt idx="40">
                  <c:v>15.89</c:v>
                </c:pt>
                <c:pt idx="41">
                  <c:v>15.99</c:v>
                </c:pt>
                <c:pt idx="42">
                  <c:v>16.09</c:v>
                </c:pt>
                <c:pt idx="43">
                  <c:v>16.19</c:v>
                </c:pt>
                <c:pt idx="44">
                  <c:v>16.29</c:v>
                </c:pt>
                <c:pt idx="45">
                  <c:v>16.39</c:v>
                </c:pt>
                <c:pt idx="46">
                  <c:v>16.49</c:v>
                </c:pt>
                <c:pt idx="47">
                  <c:v>16.59</c:v>
                </c:pt>
                <c:pt idx="48">
                  <c:v>16.69</c:v>
                </c:pt>
                <c:pt idx="49">
                  <c:v>16.79</c:v>
                </c:pt>
              </c:strCache>
            </c:strRef>
          </c:cat>
          <c:val>
            <c:numRef>
              <c:f>Sheet1!$E$2:$E$51</c:f>
              <c:numCache>
                <c:formatCode>General</c:formatCode>
                <c:ptCount val="50"/>
                <c:pt idx="0">
                  <c:v>0.34623487930264557</c:v>
                </c:pt>
                <c:pt idx="1">
                  <c:v>0.3516874657972023</c:v>
                </c:pt>
                <c:pt idx="2">
                  <c:v>0.35704985234974823</c:v>
                </c:pt>
                <c:pt idx="3">
                  <c:v>0.36232425881119396</c:v>
                </c:pt>
                <c:pt idx="4">
                  <c:v>0.3675128327834382</c:v>
                </c:pt>
                <c:pt idx="5">
                  <c:v>0.37261765253498436</c:v>
                </c:pt>
                <c:pt idx="6">
                  <c:v>0.3776407297764977</c:v>
                </c:pt>
                <c:pt idx="7">
                  <c:v>0.3825840123040871</c:v>
                </c:pt>
                <c:pt idx="8">
                  <c:v>0.38744938651760885</c:v>
                </c:pt>
                <c:pt idx="9">
                  <c:v>0.39223867982083294</c:v>
                </c:pt>
                <c:pt idx="10">
                  <c:v>0.3969536629098879</c:v>
                </c:pt>
                <c:pt idx="11">
                  <c:v>0.40159605195600134</c:v>
                </c:pt>
                <c:pt idx="12">
                  <c:v>0.4061675106881937</c:v>
                </c:pt>
                <c:pt idx="13">
                  <c:v>0.41066965238123243</c:v>
                </c:pt>
                <c:pt idx="14">
                  <c:v>0.41510404175383414</c:v>
                </c:pt>
                <c:pt idx="15">
                  <c:v>0.4194721967818115</c:v>
                </c:pt>
                <c:pt idx="16">
                  <c:v>0.423775590430575</c:v>
                </c:pt>
                <c:pt idx="17">
                  <c:v>0.42801565231114463</c:v>
                </c:pt>
                <c:pt idx="18">
                  <c:v>0.4321937702635834</c:v>
                </c:pt>
                <c:pt idx="19">
                  <c:v>0.4363112918715342</c:v>
                </c:pt>
                <c:pt idx="20">
                  <c:v>0.440369525911336</c:v>
                </c:pt>
                <c:pt idx="21">
                  <c:v>0.4443697437389889</c:v>
                </c:pt>
                <c:pt idx="22">
                  <c:v>0.4483131806180593</c:v>
                </c:pt>
                <c:pt idx="23">
                  <c:v>0.4522010369914344</c:v>
                </c:pt>
                <c:pt idx="24">
                  <c:v>0.4560344796996821</c:v>
                </c:pt>
                <c:pt idx="25">
                  <c:v>0.4598146431486071</c:v>
                </c:pt>
                <c:pt idx="26">
                  <c:v>0.46354263042846483</c:v>
                </c:pt>
                <c:pt idx="27">
                  <c:v>0.4672195143871457</c:v>
                </c:pt>
                <c:pt idx="28">
                  <c:v>0.47084633865952713</c:v>
                </c:pt>
                <c:pt idx="29">
                  <c:v>0.47442411865506806</c:v>
                </c:pt>
                <c:pt idx="30">
                  <c:v>0.47795384250560496</c:v>
                </c:pt>
                <c:pt idx="31">
                  <c:v>0.4814364719752139</c:v>
                </c:pt>
                <c:pt idx="32">
                  <c:v>0.48487294333389386</c:v>
                </c:pt>
                <c:pt idx="33">
                  <c:v>0.48826416819673846</c:v>
                </c:pt>
                <c:pt idx="34">
                  <c:v>0.4916110343301804</c:v>
                </c:pt>
                <c:pt idx="35">
                  <c:v>0.49491440642680035</c:v>
                </c:pt>
                <c:pt idx="36">
                  <c:v>0.49817512685012627</c:v>
                </c:pt>
                <c:pt idx="37">
                  <c:v>0.5013940163507669</c:v>
                </c:pt>
                <c:pt idx="38">
                  <c:v>0.5045718747551599</c:v>
                </c:pt>
                <c:pt idx="39">
                  <c:v>0.5077094816281479</c:v>
                </c:pt>
                <c:pt idx="40">
                  <c:v>0.5108075969105383</c:v>
                </c:pt>
                <c:pt idx="41">
                  <c:v>0.5138669615327365</c:v>
                </c:pt>
                <c:pt idx="42">
                  <c:v>0.5168882980054975</c:v>
                </c:pt>
                <c:pt idx="43">
                  <c:v>0.5198723109887867</c:v>
                </c:pt>
                <c:pt idx="44">
                  <c:v>0.5228196878396841</c:v>
                </c:pt>
                <c:pt idx="45">
                  <c:v>0.5257310991402352</c:v>
                </c:pt>
                <c:pt idx="46">
                  <c:v>0.528607199206092</c:v>
                </c:pt>
                <c:pt idx="47">
                  <c:v>0.5314486265767605</c:v>
                </c:pt>
                <c:pt idx="48">
                  <c:v>0.5342560044882239</c:v>
                </c:pt>
                <c:pt idx="49">
                  <c:v>0.537029941328675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0</c:f>
              <c:strCache>
                <c:ptCount val="89"/>
                <c:pt idx="0">
                  <c:v>21.19</c:v>
                </c:pt>
                <c:pt idx="1">
                  <c:v>21.29</c:v>
                </c:pt>
                <c:pt idx="2">
                  <c:v>21.39</c:v>
                </c:pt>
                <c:pt idx="3">
                  <c:v>21.49</c:v>
                </c:pt>
                <c:pt idx="4">
                  <c:v>21.59</c:v>
                </c:pt>
                <c:pt idx="5">
                  <c:v>21.69</c:v>
                </c:pt>
                <c:pt idx="6">
                  <c:v>21.79</c:v>
                </c:pt>
                <c:pt idx="7">
                  <c:v>21.89</c:v>
                </c:pt>
                <c:pt idx="8">
                  <c:v>21.99</c:v>
                </c:pt>
                <c:pt idx="9">
                  <c:v>22.09</c:v>
                </c:pt>
                <c:pt idx="10">
                  <c:v>22.19</c:v>
                </c:pt>
                <c:pt idx="11">
                  <c:v>22.29</c:v>
                </c:pt>
                <c:pt idx="12">
                  <c:v>22.39</c:v>
                </c:pt>
                <c:pt idx="13">
                  <c:v>22.49</c:v>
                </c:pt>
                <c:pt idx="14">
                  <c:v>22.59</c:v>
                </c:pt>
                <c:pt idx="15">
                  <c:v>22.69</c:v>
                </c:pt>
                <c:pt idx="16">
                  <c:v>22.79</c:v>
                </c:pt>
                <c:pt idx="17">
                  <c:v>22.89</c:v>
                </c:pt>
                <c:pt idx="18">
                  <c:v>22.99</c:v>
                </c:pt>
                <c:pt idx="19">
                  <c:v>23.09</c:v>
                </c:pt>
                <c:pt idx="20">
                  <c:v>23.19</c:v>
                </c:pt>
                <c:pt idx="21">
                  <c:v>23.29</c:v>
                </c:pt>
                <c:pt idx="22">
                  <c:v>23.39</c:v>
                </c:pt>
                <c:pt idx="23">
                  <c:v>23.49</c:v>
                </c:pt>
                <c:pt idx="24">
                  <c:v>23.59</c:v>
                </c:pt>
                <c:pt idx="25">
                  <c:v>23.69</c:v>
                </c:pt>
                <c:pt idx="26">
                  <c:v>23.79</c:v>
                </c:pt>
                <c:pt idx="27">
                  <c:v>23.89</c:v>
                </c:pt>
                <c:pt idx="28">
                  <c:v>23.99</c:v>
                </c:pt>
                <c:pt idx="29">
                  <c:v>24.09</c:v>
                </c:pt>
                <c:pt idx="30">
                  <c:v>24.19</c:v>
                </c:pt>
                <c:pt idx="31">
                  <c:v>24.29</c:v>
                </c:pt>
                <c:pt idx="32">
                  <c:v>24.39</c:v>
                </c:pt>
                <c:pt idx="33">
                  <c:v>24.49</c:v>
                </c:pt>
                <c:pt idx="34">
                  <c:v>24.59</c:v>
                </c:pt>
                <c:pt idx="35">
                  <c:v>24.69</c:v>
                </c:pt>
                <c:pt idx="36">
                  <c:v>24.79</c:v>
                </c:pt>
                <c:pt idx="37">
                  <c:v>24.89</c:v>
                </c:pt>
                <c:pt idx="38">
                  <c:v>24.99</c:v>
                </c:pt>
                <c:pt idx="39">
                  <c:v>25.09</c:v>
                </c:pt>
                <c:pt idx="40">
                  <c:v>25.19</c:v>
                </c:pt>
                <c:pt idx="41">
                  <c:v>25.29</c:v>
                </c:pt>
                <c:pt idx="42">
                  <c:v>25.39</c:v>
                </c:pt>
                <c:pt idx="43">
                  <c:v>25.49</c:v>
                </c:pt>
                <c:pt idx="44">
                  <c:v>25.59</c:v>
                </c:pt>
                <c:pt idx="45">
                  <c:v>25.69</c:v>
                </c:pt>
                <c:pt idx="46">
                  <c:v>25.79</c:v>
                </c:pt>
                <c:pt idx="47">
                  <c:v>25.89</c:v>
                </c:pt>
                <c:pt idx="48">
                  <c:v>25.99</c:v>
                </c:pt>
                <c:pt idx="49">
                  <c:v>26.09</c:v>
                </c:pt>
                <c:pt idx="50">
                  <c:v>26.19</c:v>
                </c:pt>
                <c:pt idx="51">
                  <c:v>26.29</c:v>
                </c:pt>
                <c:pt idx="52">
                  <c:v>26.39</c:v>
                </c:pt>
                <c:pt idx="53">
                  <c:v>26.49</c:v>
                </c:pt>
                <c:pt idx="54">
                  <c:v>26.59</c:v>
                </c:pt>
                <c:pt idx="55">
                  <c:v>26.69</c:v>
                </c:pt>
                <c:pt idx="56">
                  <c:v>26.79</c:v>
                </c:pt>
                <c:pt idx="57">
                  <c:v>26.89</c:v>
                </c:pt>
                <c:pt idx="58">
                  <c:v>26.99</c:v>
                </c:pt>
                <c:pt idx="59">
                  <c:v>27.09</c:v>
                </c:pt>
                <c:pt idx="60">
                  <c:v>27.19</c:v>
                </c:pt>
                <c:pt idx="61">
                  <c:v>27.29</c:v>
                </c:pt>
                <c:pt idx="62">
                  <c:v>27.39</c:v>
                </c:pt>
                <c:pt idx="63">
                  <c:v>27.49</c:v>
                </c:pt>
                <c:pt idx="64">
                  <c:v>27.59</c:v>
                </c:pt>
                <c:pt idx="65">
                  <c:v>27.69</c:v>
                </c:pt>
                <c:pt idx="66">
                  <c:v>27.79</c:v>
                </c:pt>
                <c:pt idx="67">
                  <c:v>27.89</c:v>
                </c:pt>
                <c:pt idx="68">
                  <c:v>27.99</c:v>
                </c:pt>
                <c:pt idx="69">
                  <c:v>28.09</c:v>
                </c:pt>
                <c:pt idx="70">
                  <c:v>28.19</c:v>
                </c:pt>
                <c:pt idx="71">
                  <c:v>28.29</c:v>
                </c:pt>
                <c:pt idx="72">
                  <c:v>28.39</c:v>
                </c:pt>
                <c:pt idx="73">
                  <c:v>28.49</c:v>
                </c:pt>
                <c:pt idx="74">
                  <c:v>28.59</c:v>
                </c:pt>
                <c:pt idx="75">
                  <c:v>28.69</c:v>
                </c:pt>
                <c:pt idx="76">
                  <c:v>28.79</c:v>
                </c:pt>
                <c:pt idx="77">
                  <c:v>28.89</c:v>
                </c:pt>
                <c:pt idx="78">
                  <c:v>28.99</c:v>
                </c:pt>
                <c:pt idx="79">
                  <c:v>29.09</c:v>
                </c:pt>
                <c:pt idx="80">
                  <c:v>29.19</c:v>
                </c:pt>
                <c:pt idx="81">
                  <c:v>29.29</c:v>
                </c:pt>
                <c:pt idx="82">
                  <c:v>29.39</c:v>
                </c:pt>
                <c:pt idx="83">
                  <c:v>29.49</c:v>
                </c:pt>
                <c:pt idx="84">
                  <c:v>29.59</c:v>
                </c:pt>
                <c:pt idx="85">
                  <c:v>29.69</c:v>
                </c:pt>
                <c:pt idx="86">
                  <c:v>29.79</c:v>
                </c:pt>
                <c:pt idx="87">
                  <c:v>29.89</c:v>
                </c:pt>
                <c:pt idx="88">
                  <c:v>29.99</c:v>
                </c:pt>
              </c:strCache>
            </c:strRef>
          </c:cat>
          <c:val>
            <c:numRef>
              <c:f>Sheet1!$B$2:$B$90</c:f>
              <c:numCache>
                <c:formatCode>General</c:formatCode>
                <c:ptCount val="89"/>
                <c:pt idx="0">
                  <c:v>111.86887359035144</c:v>
                </c:pt>
                <c:pt idx="1">
                  <c:v>111.52083187502251</c:v>
                </c:pt>
                <c:pt idx="2">
                  <c:v>111.17425044095839</c:v>
                </c:pt>
                <c:pt idx="3">
                  <c:v>110.82912184982332</c:v>
                </c:pt>
                <c:pt idx="4">
                  <c:v>110.48543870639409</c:v>
                </c:pt>
                <c:pt idx="5">
                  <c:v>110.14319365828572</c:v>
                </c:pt>
                <c:pt idx="6">
                  <c:v>109.80237939567674</c:v>
                </c:pt>
                <c:pt idx="7">
                  <c:v>109.46298865103404</c:v>
                </c:pt>
                <c:pt idx="8">
                  <c:v>109.12501419884752</c:v>
                </c:pt>
                <c:pt idx="9">
                  <c:v>108.7884488553577</c:v>
                </c:pt>
                <c:pt idx="10">
                  <c:v>108.45328547829125</c:v>
                </c:pt>
                <c:pt idx="11">
                  <c:v>108.11951696659334</c:v>
                </c:pt>
                <c:pt idx="12">
                  <c:v>107.7871362601677</c:v>
                </c:pt>
                <c:pt idx="13">
                  <c:v>107.45613633961217</c:v>
                </c:pt>
                <c:pt idx="14">
                  <c:v>107.12651022596143</c:v>
                </c:pt>
                <c:pt idx="15">
                  <c:v>106.79825098042816</c:v>
                </c:pt>
                <c:pt idx="16">
                  <c:v>106.47135170414464</c:v>
                </c:pt>
                <c:pt idx="17">
                  <c:v>106.1458055379133</c:v>
                </c:pt>
                <c:pt idx="18">
                  <c:v>105.82160566194926</c:v>
                </c:pt>
                <c:pt idx="19">
                  <c:v>105.49874529563077</c:v>
                </c:pt>
                <c:pt idx="20">
                  <c:v>105.1772176972517</c:v>
                </c:pt>
                <c:pt idx="21">
                  <c:v>104.8570161637708</c:v>
                </c:pt>
                <c:pt idx="22">
                  <c:v>104.53813403056867</c:v>
                </c:pt>
                <c:pt idx="23">
                  <c:v>104.22056467120046</c:v>
                </c:pt>
                <c:pt idx="24">
                  <c:v>103.904301497157</c:v>
                </c:pt>
                <c:pt idx="25">
                  <c:v>103.58933795761939</c:v>
                </c:pt>
                <c:pt idx="26">
                  <c:v>103.27566753922346</c:v>
                </c:pt>
                <c:pt idx="27">
                  <c:v>102.9632837658199</c:v>
                </c:pt>
                <c:pt idx="28">
                  <c:v>102.65218019823811</c:v>
                </c:pt>
                <c:pt idx="29">
                  <c:v>102.38293177420647</c:v>
                </c:pt>
                <c:pt idx="30">
                  <c:v>102.11458816840005</c:v>
                </c:pt>
                <c:pt idx="31">
                  <c:v>101.84714591683115</c:v>
                </c:pt>
                <c:pt idx="32">
                  <c:v>101.58060156939382</c:v>
                </c:pt>
                <c:pt idx="33">
                  <c:v>101.31495168980295</c:v>
                </c:pt>
                <c:pt idx="34">
                  <c:v>101.05019285554104</c:v>
                </c:pt>
                <c:pt idx="35">
                  <c:v>100.7863216577967</c:v>
                </c:pt>
                <c:pt idx="36">
                  <c:v>100.52333470141122</c:v>
                </c:pt>
                <c:pt idx="37">
                  <c:v>100.26122860482035</c:v>
                </c:pt>
                <c:pt idx="38">
                  <c:v>100.0</c:v>
                </c:pt>
                <c:pt idx="39">
                  <c:v>99.73964553240747</c:v>
                </c:pt>
                <c:pt idx="40">
                  <c:v>99.4801618609279</c:v>
                </c:pt>
                <c:pt idx="41">
                  <c:v>99.22154565781827</c:v>
                </c:pt>
                <c:pt idx="42">
                  <c:v>98.96379360865171</c:v>
                </c:pt>
                <c:pt idx="43">
                  <c:v>98.70690241226309</c:v>
                </c:pt>
                <c:pt idx="44">
                  <c:v>98.45086878069452</c:v>
                </c:pt>
                <c:pt idx="45">
                  <c:v>98.19568943913978</c:v>
                </c:pt>
                <c:pt idx="46">
                  <c:v>97.94136112589162</c:v>
                </c:pt>
                <c:pt idx="47">
                  <c:v>97.6878805922866</c:v>
                </c:pt>
                <c:pt idx="48">
                  <c:v>97.43524460265233</c:v>
                </c:pt>
                <c:pt idx="49">
                  <c:v>97.18344993425282</c:v>
                </c:pt>
                <c:pt idx="50">
                  <c:v>96.93249337723682</c:v>
                </c:pt>
                <c:pt idx="51">
                  <c:v>96.68237173458338</c:v>
                </c:pt>
                <c:pt idx="52">
                  <c:v>96.43308182205055</c:v>
                </c:pt>
                <c:pt idx="53">
                  <c:v>96.18462046812081</c:v>
                </c:pt>
                <c:pt idx="54">
                  <c:v>95.9369845139521</c:v>
                </c:pt>
                <c:pt idx="55">
                  <c:v>95.69017081332147</c:v>
                </c:pt>
                <c:pt idx="56">
                  <c:v>95.44417623257824</c:v>
                </c:pt>
                <c:pt idx="57">
                  <c:v>95.19899765058791</c:v>
                </c:pt>
                <c:pt idx="58">
                  <c:v>94.95463195868456</c:v>
                </c:pt>
                <c:pt idx="59">
                  <c:v>94.71107606061653</c:v>
                </c:pt>
                <c:pt idx="60">
                  <c:v>94.46832687249866</c:v>
                </c:pt>
                <c:pt idx="61">
                  <c:v>94.22638132275917</c:v>
                </c:pt>
                <c:pt idx="62">
                  <c:v>93.98523635209169</c:v>
                </c:pt>
                <c:pt idx="63">
                  <c:v>93.74488891340215</c:v>
                </c:pt>
                <c:pt idx="64">
                  <c:v>93.50533597176181</c:v>
                </c:pt>
                <c:pt idx="65">
                  <c:v>93.26657450435596</c:v>
                </c:pt>
                <c:pt idx="66">
                  <c:v>93.02860150043519</c:v>
                </c:pt>
                <c:pt idx="67">
                  <c:v>92.79141396126552</c:v>
                </c:pt>
                <c:pt idx="68">
                  <c:v>92.5550089000798</c:v>
                </c:pt>
                <c:pt idx="69">
                  <c:v>92.31938334202869</c:v>
                </c:pt>
                <c:pt idx="70">
                  <c:v>92.08453432413285</c:v>
                </c:pt>
                <c:pt idx="71">
                  <c:v>91.85045889523364</c:v>
                </c:pt>
                <c:pt idx="72">
                  <c:v>91.61715411594533</c:v>
                </c:pt>
                <c:pt idx="73">
                  <c:v>91.38461705860756</c:v>
                </c:pt>
                <c:pt idx="74">
                  <c:v>91.15284480723788</c:v>
                </c:pt>
                <c:pt idx="75">
                  <c:v>90.92183445748267</c:v>
                </c:pt>
                <c:pt idx="76">
                  <c:v>90.69158311657229</c:v>
                </c:pt>
                <c:pt idx="77">
                  <c:v>90.46208790327206</c:v>
                </c:pt>
                <c:pt idx="78">
                  <c:v>90.23334594783655</c:v>
                </c:pt>
                <c:pt idx="79">
                  <c:v>90.00535439196238</c:v>
                </c:pt>
                <c:pt idx="80">
                  <c:v>89.7781103887426</c:v>
                </c:pt>
                <c:pt idx="81">
                  <c:v>89.55161110261912</c:v>
                </c:pt>
                <c:pt idx="82">
                  <c:v>89.3258537093386</c:v>
                </c:pt>
                <c:pt idx="83">
                  <c:v>89.10083539590512</c:v>
                </c:pt>
                <c:pt idx="84">
                  <c:v>88.87655336053542</c:v>
                </c:pt>
                <c:pt idx="85">
                  <c:v>88.65300481261335</c:v>
                </c:pt>
                <c:pt idx="86">
                  <c:v>88.430186972644</c:v>
                </c:pt>
                <c:pt idx="87">
                  <c:v>88.20809707221056</c:v>
                </c:pt>
                <c:pt idx="88">
                  <c:v>87.98673235392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0</c:f>
              <c:strCache>
                <c:ptCount val="89"/>
                <c:pt idx="0">
                  <c:v>21.19</c:v>
                </c:pt>
                <c:pt idx="1">
                  <c:v>21.29</c:v>
                </c:pt>
                <c:pt idx="2">
                  <c:v>21.39</c:v>
                </c:pt>
                <c:pt idx="3">
                  <c:v>21.49</c:v>
                </c:pt>
                <c:pt idx="4">
                  <c:v>21.59</c:v>
                </c:pt>
                <c:pt idx="5">
                  <c:v>21.69</c:v>
                </c:pt>
                <c:pt idx="6">
                  <c:v>21.79</c:v>
                </c:pt>
                <c:pt idx="7">
                  <c:v>21.89</c:v>
                </c:pt>
                <c:pt idx="8">
                  <c:v>21.99</c:v>
                </c:pt>
                <c:pt idx="9">
                  <c:v>22.09</c:v>
                </c:pt>
                <c:pt idx="10">
                  <c:v>22.19</c:v>
                </c:pt>
                <c:pt idx="11">
                  <c:v>22.29</c:v>
                </c:pt>
                <c:pt idx="12">
                  <c:v>22.39</c:v>
                </c:pt>
                <c:pt idx="13">
                  <c:v>22.49</c:v>
                </c:pt>
                <c:pt idx="14">
                  <c:v>22.59</c:v>
                </c:pt>
                <c:pt idx="15">
                  <c:v>22.69</c:v>
                </c:pt>
                <c:pt idx="16">
                  <c:v>22.79</c:v>
                </c:pt>
                <c:pt idx="17">
                  <c:v>22.89</c:v>
                </c:pt>
                <c:pt idx="18">
                  <c:v>22.99</c:v>
                </c:pt>
                <c:pt idx="19">
                  <c:v>23.09</c:v>
                </c:pt>
                <c:pt idx="20">
                  <c:v>23.19</c:v>
                </c:pt>
                <c:pt idx="21">
                  <c:v>23.29</c:v>
                </c:pt>
                <c:pt idx="22">
                  <c:v>23.39</c:v>
                </c:pt>
                <c:pt idx="23">
                  <c:v>23.49</c:v>
                </c:pt>
                <c:pt idx="24">
                  <c:v>23.59</c:v>
                </c:pt>
                <c:pt idx="25">
                  <c:v>23.69</c:v>
                </c:pt>
                <c:pt idx="26">
                  <c:v>23.79</c:v>
                </c:pt>
                <c:pt idx="27">
                  <c:v>23.89</c:v>
                </c:pt>
                <c:pt idx="28">
                  <c:v>23.99</c:v>
                </c:pt>
                <c:pt idx="29">
                  <c:v>24.09</c:v>
                </c:pt>
                <c:pt idx="30">
                  <c:v>24.19</c:v>
                </c:pt>
                <c:pt idx="31">
                  <c:v>24.29</c:v>
                </c:pt>
                <c:pt idx="32">
                  <c:v>24.39</c:v>
                </c:pt>
                <c:pt idx="33">
                  <c:v>24.49</c:v>
                </c:pt>
                <c:pt idx="34">
                  <c:v>24.59</c:v>
                </c:pt>
                <c:pt idx="35">
                  <c:v>24.69</c:v>
                </c:pt>
                <c:pt idx="36">
                  <c:v>24.79</c:v>
                </c:pt>
                <c:pt idx="37">
                  <c:v>24.89</c:v>
                </c:pt>
                <c:pt idx="38">
                  <c:v>24.99</c:v>
                </c:pt>
                <c:pt idx="39">
                  <c:v>25.09</c:v>
                </c:pt>
                <c:pt idx="40">
                  <c:v>25.19</c:v>
                </c:pt>
                <c:pt idx="41">
                  <c:v>25.29</c:v>
                </c:pt>
                <c:pt idx="42">
                  <c:v>25.39</c:v>
                </c:pt>
                <c:pt idx="43">
                  <c:v>25.49</c:v>
                </c:pt>
                <c:pt idx="44">
                  <c:v>25.59</c:v>
                </c:pt>
                <c:pt idx="45">
                  <c:v>25.69</c:v>
                </c:pt>
                <c:pt idx="46">
                  <c:v>25.79</c:v>
                </c:pt>
                <c:pt idx="47">
                  <c:v>25.89</c:v>
                </c:pt>
                <c:pt idx="48">
                  <c:v>25.99</c:v>
                </c:pt>
                <c:pt idx="49">
                  <c:v>26.09</c:v>
                </c:pt>
                <c:pt idx="50">
                  <c:v>26.19</c:v>
                </c:pt>
                <c:pt idx="51">
                  <c:v>26.29</c:v>
                </c:pt>
                <c:pt idx="52">
                  <c:v>26.39</c:v>
                </c:pt>
                <c:pt idx="53">
                  <c:v>26.49</c:v>
                </c:pt>
                <c:pt idx="54">
                  <c:v>26.59</c:v>
                </c:pt>
                <c:pt idx="55">
                  <c:v>26.69</c:v>
                </c:pt>
                <c:pt idx="56">
                  <c:v>26.79</c:v>
                </c:pt>
                <c:pt idx="57">
                  <c:v>26.89</c:v>
                </c:pt>
                <c:pt idx="58">
                  <c:v>26.99</c:v>
                </c:pt>
                <c:pt idx="59">
                  <c:v>27.09</c:v>
                </c:pt>
                <c:pt idx="60">
                  <c:v>27.19</c:v>
                </c:pt>
                <c:pt idx="61">
                  <c:v>27.29</c:v>
                </c:pt>
                <c:pt idx="62">
                  <c:v>27.39</c:v>
                </c:pt>
                <c:pt idx="63">
                  <c:v>27.49</c:v>
                </c:pt>
                <c:pt idx="64">
                  <c:v>27.59</c:v>
                </c:pt>
                <c:pt idx="65">
                  <c:v>27.69</c:v>
                </c:pt>
                <c:pt idx="66">
                  <c:v>27.79</c:v>
                </c:pt>
                <c:pt idx="67">
                  <c:v>27.89</c:v>
                </c:pt>
                <c:pt idx="68">
                  <c:v>27.99</c:v>
                </c:pt>
                <c:pt idx="69">
                  <c:v>28.09</c:v>
                </c:pt>
                <c:pt idx="70">
                  <c:v>28.19</c:v>
                </c:pt>
                <c:pt idx="71">
                  <c:v>28.29</c:v>
                </c:pt>
                <c:pt idx="72">
                  <c:v>28.39</c:v>
                </c:pt>
                <c:pt idx="73">
                  <c:v>28.49</c:v>
                </c:pt>
                <c:pt idx="74">
                  <c:v>28.59</c:v>
                </c:pt>
                <c:pt idx="75">
                  <c:v>28.69</c:v>
                </c:pt>
                <c:pt idx="76">
                  <c:v>28.79</c:v>
                </c:pt>
                <c:pt idx="77">
                  <c:v>28.89</c:v>
                </c:pt>
                <c:pt idx="78">
                  <c:v>28.99</c:v>
                </c:pt>
                <c:pt idx="79">
                  <c:v>29.09</c:v>
                </c:pt>
                <c:pt idx="80">
                  <c:v>29.19</c:v>
                </c:pt>
                <c:pt idx="81">
                  <c:v>29.29</c:v>
                </c:pt>
                <c:pt idx="82">
                  <c:v>29.39</c:v>
                </c:pt>
                <c:pt idx="83">
                  <c:v>29.49</c:v>
                </c:pt>
                <c:pt idx="84">
                  <c:v>29.59</c:v>
                </c:pt>
                <c:pt idx="85">
                  <c:v>29.69</c:v>
                </c:pt>
                <c:pt idx="86">
                  <c:v>29.79</c:v>
                </c:pt>
                <c:pt idx="87">
                  <c:v>29.89</c:v>
                </c:pt>
                <c:pt idx="88">
                  <c:v>29.99</c:v>
                </c:pt>
              </c:strCache>
            </c:strRef>
          </c:cat>
          <c:val>
            <c:numRef>
              <c:f>Sheet1!$C$2:$C$90</c:f>
              <c:numCache>
                <c:formatCode>General</c:formatCode>
                <c:ptCount val="89"/>
                <c:pt idx="0">
                  <c:v>94.92966180014942</c:v>
                </c:pt>
                <c:pt idx="1">
                  <c:v>95.07881766801084</c:v>
                </c:pt>
                <c:pt idx="2">
                  <c:v>95.2264457724745</c:v>
                </c:pt>
                <c:pt idx="3">
                  <c:v>95.37255732500813</c:v>
                </c:pt>
                <c:pt idx="4">
                  <c:v>95.51716345284788</c:v>
                </c:pt>
                <c:pt idx="5">
                  <c:v>95.66027519966654</c:v>
                </c:pt>
                <c:pt idx="6">
                  <c:v>95.80190352623403</c:v>
                </c:pt>
                <c:pt idx="7">
                  <c:v>95.94205931107093</c:v>
                </c:pt>
                <c:pt idx="8">
                  <c:v>96.08075335110227</c:v>
                </c:pt>
                <c:pt idx="9">
                  <c:v>96.21799636229854</c:v>
                </c:pt>
                <c:pt idx="10">
                  <c:v>96.35379898031692</c:v>
                </c:pt>
                <c:pt idx="11">
                  <c:v>96.48817176113221</c:v>
                </c:pt>
                <c:pt idx="12">
                  <c:v>96.6211251816674</c:v>
                </c:pt>
                <c:pt idx="13">
                  <c:v>96.7526696404144</c:v>
                </c:pt>
                <c:pt idx="14">
                  <c:v>96.8828154580525</c:v>
                </c:pt>
                <c:pt idx="15">
                  <c:v>97.0115728780606</c:v>
                </c:pt>
                <c:pt idx="16">
                  <c:v>97.13895206732131</c:v>
                </c:pt>
                <c:pt idx="17">
                  <c:v>97.26496311672776</c:v>
                </c:pt>
                <c:pt idx="18">
                  <c:v>97.38961604177568</c:v>
                </c:pt>
                <c:pt idx="19">
                  <c:v>97.51292078315633</c:v>
                </c:pt>
                <c:pt idx="20">
                  <c:v>97.63488720734459</c:v>
                </c:pt>
                <c:pt idx="21">
                  <c:v>97.75552510717793</c:v>
                </c:pt>
                <c:pt idx="22">
                  <c:v>97.87484420243543</c:v>
                </c:pt>
                <c:pt idx="23">
                  <c:v>97.99285414040723</c:v>
                </c:pt>
                <c:pt idx="24">
                  <c:v>98.1095644964644</c:v>
                </c:pt>
                <c:pt idx="25">
                  <c:v>98.22498477461767</c:v>
                </c:pt>
                <c:pt idx="26">
                  <c:v>98.33912440807747</c:v>
                </c:pt>
                <c:pt idx="27">
                  <c:v>98.45199275980562</c:v>
                </c:pt>
                <c:pt idx="28">
                  <c:v>98.56359912306274</c:v>
                </c:pt>
                <c:pt idx="29">
                  <c:v>98.71287577872044</c:v>
                </c:pt>
                <c:pt idx="30">
                  <c:v>98.86087990440897</c:v>
                </c:pt>
                <c:pt idx="31">
                  <c:v>99.00761906050045</c:v>
                </c:pt>
                <c:pt idx="32">
                  <c:v>99.15310076385818</c:v>
                </c:pt>
                <c:pt idx="33">
                  <c:v>99.29733248807877</c:v>
                </c:pt>
                <c:pt idx="34">
                  <c:v>99.44032166373856</c:v>
                </c:pt>
                <c:pt idx="35">
                  <c:v>99.5820756786318</c:v>
                </c:pt>
                <c:pt idx="36">
                  <c:v>99.72260187801383</c:v>
                </c:pt>
                <c:pt idx="37">
                  <c:v>99.86190756483911</c:v>
                </c:pt>
                <c:pt idx="38">
                  <c:v>100.0</c:v>
                </c:pt>
                <c:pt idx="39">
                  <c:v>100.13688640256089</c:v>
                </c:pt>
                <c:pt idx="40">
                  <c:v>100.2725739499954</c:v>
                </c:pt>
                <c:pt idx="41">
                  <c:v>100.40706977841896</c:v>
                </c:pt>
                <c:pt idx="42">
                  <c:v>100.54038098282128</c:v>
                </c:pt>
                <c:pt idx="43">
                  <c:v>100.67251461729741</c:v>
                </c:pt>
                <c:pt idx="44">
                  <c:v>100.80347769527766</c:v>
                </c:pt>
                <c:pt idx="45">
                  <c:v>100.93327718975522</c:v>
                </c:pt>
                <c:pt idx="46">
                  <c:v>101.06192003351401</c:v>
                </c:pt>
                <c:pt idx="47">
                  <c:v>101.18941311935383</c:v>
                </c:pt>
                <c:pt idx="48">
                  <c:v>101.31576330031555</c:v>
                </c:pt>
                <c:pt idx="49">
                  <c:v>101.44097738990318</c:v>
                </c:pt>
                <c:pt idx="50">
                  <c:v>101.56506216230703</c:v>
                </c:pt>
                <c:pt idx="51">
                  <c:v>101.6880243526233</c:v>
                </c:pt>
                <c:pt idx="52">
                  <c:v>101.80987065707487</c:v>
                </c:pt>
                <c:pt idx="53">
                  <c:v>101.93060773322733</c:v>
                </c:pt>
                <c:pt idx="54">
                  <c:v>102.05024220020881</c:v>
                </c:pt>
                <c:pt idx="55">
                  <c:v>102.16878063892223</c:v>
                </c:pt>
                <c:pt idx="56">
                  <c:v>102.28622959226365</c:v>
                </c:pt>
                <c:pt idx="57">
                  <c:v>102.40259556533202</c:v>
                </c:pt>
                <c:pt idx="58">
                  <c:v>102.51788502564432</c:v>
                </c:pt>
                <c:pt idx="59">
                  <c:v>102.63210440334316</c:v>
                </c:pt>
                <c:pt idx="60">
                  <c:v>102.74526009141015</c:v>
                </c:pt>
                <c:pt idx="61">
                  <c:v>102.8573584458712</c:v>
                </c:pt>
                <c:pt idx="62">
                  <c:v>102.96840578600668</c:v>
                </c:pt>
                <c:pt idx="63">
                  <c:v>103.07840839455463</c:v>
                </c:pt>
                <c:pt idx="64">
                  <c:v>103.18737251791848</c:v>
                </c:pt>
                <c:pt idx="65">
                  <c:v>103.2953043663696</c:v>
                </c:pt>
                <c:pt idx="66">
                  <c:v>103.40221011425079</c:v>
                </c:pt>
                <c:pt idx="67">
                  <c:v>103.50809590017687</c:v>
                </c:pt>
                <c:pt idx="68">
                  <c:v>103.61296782723592</c:v>
                </c:pt>
                <c:pt idx="69">
                  <c:v>103.71683196318851</c:v>
                </c:pt>
                <c:pt idx="70">
                  <c:v>103.8196943406664</c:v>
                </c:pt>
                <c:pt idx="71">
                  <c:v>103.92156095736888</c:v>
                </c:pt>
                <c:pt idx="72">
                  <c:v>104.0224377762592</c:v>
                </c:pt>
                <c:pt idx="73">
                  <c:v>104.12233072575991</c:v>
                </c:pt>
                <c:pt idx="74">
                  <c:v>104.22124569994695</c:v>
                </c:pt>
                <c:pt idx="75">
                  <c:v>104.31918855874054</c:v>
                </c:pt>
                <c:pt idx="76">
                  <c:v>104.41616512810012</c:v>
                </c:pt>
                <c:pt idx="77">
                  <c:v>104.51218120021224</c:v>
                </c:pt>
                <c:pt idx="78">
                  <c:v>104.60724253368173</c:v>
                </c:pt>
                <c:pt idx="79">
                  <c:v>104.70135485371954</c:v>
                </c:pt>
                <c:pt idx="80">
                  <c:v>104.7945238523313</c:v>
                </c:pt>
                <c:pt idx="81">
                  <c:v>104.88675518850211</c:v>
                </c:pt>
                <c:pt idx="82">
                  <c:v>104.9780544883839</c:v>
                </c:pt>
                <c:pt idx="83">
                  <c:v>105.06842734547894</c:v>
                </c:pt>
                <c:pt idx="84">
                  <c:v>105.15787932082333</c:v>
                </c:pt>
                <c:pt idx="85">
                  <c:v>105.2464159431695</c:v>
                </c:pt>
                <c:pt idx="86">
                  <c:v>105.33404270916722</c:v>
                </c:pt>
                <c:pt idx="87">
                  <c:v>105.42076508354536</c:v>
                </c:pt>
                <c:pt idx="88">
                  <c:v>105.50658849928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0</c:f>
              <c:strCache>
                <c:ptCount val="89"/>
                <c:pt idx="0">
                  <c:v>21.19</c:v>
                </c:pt>
                <c:pt idx="1">
                  <c:v>21.29</c:v>
                </c:pt>
                <c:pt idx="2">
                  <c:v>21.39</c:v>
                </c:pt>
                <c:pt idx="3">
                  <c:v>21.49</c:v>
                </c:pt>
                <c:pt idx="4">
                  <c:v>21.59</c:v>
                </c:pt>
                <c:pt idx="5">
                  <c:v>21.69</c:v>
                </c:pt>
                <c:pt idx="6">
                  <c:v>21.79</c:v>
                </c:pt>
                <c:pt idx="7">
                  <c:v>21.89</c:v>
                </c:pt>
                <c:pt idx="8">
                  <c:v>21.99</c:v>
                </c:pt>
                <c:pt idx="9">
                  <c:v>22.09</c:v>
                </c:pt>
                <c:pt idx="10">
                  <c:v>22.19</c:v>
                </c:pt>
                <c:pt idx="11">
                  <c:v>22.29</c:v>
                </c:pt>
                <c:pt idx="12">
                  <c:v>22.39</c:v>
                </c:pt>
                <c:pt idx="13">
                  <c:v>22.49</c:v>
                </c:pt>
                <c:pt idx="14">
                  <c:v>22.59</c:v>
                </c:pt>
                <c:pt idx="15">
                  <c:v>22.69</c:v>
                </c:pt>
                <c:pt idx="16">
                  <c:v>22.79</c:v>
                </c:pt>
                <c:pt idx="17">
                  <c:v>22.89</c:v>
                </c:pt>
                <c:pt idx="18">
                  <c:v>22.99</c:v>
                </c:pt>
                <c:pt idx="19">
                  <c:v>23.09</c:v>
                </c:pt>
                <c:pt idx="20">
                  <c:v>23.19</c:v>
                </c:pt>
                <c:pt idx="21">
                  <c:v>23.29</c:v>
                </c:pt>
                <c:pt idx="22">
                  <c:v>23.39</c:v>
                </c:pt>
                <c:pt idx="23">
                  <c:v>23.49</c:v>
                </c:pt>
                <c:pt idx="24">
                  <c:v>23.59</c:v>
                </c:pt>
                <c:pt idx="25">
                  <c:v>23.69</c:v>
                </c:pt>
                <c:pt idx="26">
                  <c:v>23.79</c:v>
                </c:pt>
                <c:pt idx="27">
                  <c:v>23.89</c:v>
                </c:pt>
                <c:pt idx="28">
                  <c:v>23.99</c:v>
                </c:pt>
                <c:pt idx="29">
                  <c:v>24.09</c:v>
                </c:pt>
                <c:pt idx="30">
                  <c:v>24.19</c:v>
                </c:pt>
                <c:pt idx="31">
                  <c:v>24.29</c:v>
                </c:pt>
                <c:pt idx="32">
                  <c:v>24.39</c:v>
                </c:pt>
                <c:pt idx="33">
                  <c:v>24.49</c:v>
                </c:pt>
                <c:pt idx="34">
                  <c:v>24.59</c:v>
                </c:pt>
                <c:pt idx="35">
                  <c:v>24.69</c:v>
                </c:pt>
                <c:pt idx="36">
                  <c:v>24.79</c:v>
                </c:pt>
                <c:pt idx="37">
                  <c:v>24.89</c:v>
                </c:pt>
                <c:pt idx="38">
                  <c:v>24.99</c:v>
                </c:pt>
                <c:pt idx="39">
                  <c:v>25.09</c:v>
                </c:pt>
                <c:pt idx="40">
                  <c:v>25.19</c:v>
                </c:pt>
                <c:pt idx="41">
                  <c:v>25.29</c:v>
                </c:pt>
                <c:pt idx="42">
                  <c:v>25.39</c:v>
                </c:pt>
                <c:pt idx="43">
                  <c:v>25.49</c:v>
                </c:pt>
                <c:pt idx="44">
                  <c:v>25.59</c:v>
                </c:pt>
                <c:pt idx="45">
                  <c:v>25.69</c:v>
                </c:pt>
                <c:pt idx="46">
                  <c:v>25.79</c:v>
                </c:pt>
                <c:pt idx="47">
                  <c:v>25.89</c:v>
                </c:pt>
                <c:pt idx="48">
                  <c:v>25.99</c:v>
                </c:pt>
                <c:pt idx="49">
                  <c:v>26.09</c:v>
                </c:pt>
                <c:pt idx="50">
                  <c:v>26.19</c:v>
                </c:pt>
                <c:pt idx="51">
                  <c:v>26.29</c:v>
                </c:pt>
                <c:pt idx="52">
                  <c:v>26.39</c:v>
                </c:pt>
                <c:pt idx="53">
                  <c:v>26.49</c:v>
                </c:pt>
                <c:pt idx="54">
                  <c:v>26.59</c:v>
                </c:pt>
                <c:pt idx="55">
                  <c:v>26.69</c:v>
                </c:pt>
                <c:pt idx="56">
                  <c:v>26.79</c:v>
                </c:pt>
                <c:pt idx="57">
                  <c:v>26.89</c:v>
                </c:pt>
                <c:pt idx="58">
                  <c:v>26.99</c:v>
                </c:pt>
                <c:pt idx="59">
                  <c:v>27.09</c:v>
                </c:pt>
                <c:pt idx="60">
                  <c:v>27.19</c:v>
                </c:pt>
                <c:pt idx="61">
                  <c:v>27.29</c:v>
                </c:pt>
                <c:pt idx="62">
                  <c:v>27.39</c:v>
                </c:pt>
                <c:pt idx="63">
                  <c:v>27.49</c:v>
                </c:pt>
                <c:pt idx="64">
                  <c:v>27.59</c:v>
                </c:pt>
                <c:pt idx="65">
                  <c:v>27.69</c:v>
                </c:pt>
                <c:pt idx="66">
                  <c:v>27.79</c:v>
                </c:pt>
                <c:pt idx="67">
                  <c:v>27.89</c:v>
                </c:pt>
                <c:pt idx="68">
                  <c:v>27.99</c:v>
                </c:pt>
                <c:pt idx="69">
                  <c:v>28.09</c:v>
                </c:pt>
                <c:pt idx="70">
                  <c:v>28.19</c:v>
                </c:pt>
                <c:pt idx="71">
                  <c:v>28.29</c:v>
                </c:pt>
                <c:pt idx="72">
                  <c:v>28.39</c:v>
                </c:pt>
                <c:pt idx="73">
                  <c:v>28.49</c:v>
                </c:pt>
                <c:pt idx="74">
                  <c:v>28.59</c:v>
                </c:pt>
                <c:pt idx="75">
                  <c:v>28.69</c:v>
                </c:pt>
                <c:pt idx="76">
                  <c:v>28.79</c:v>
                </c:pt>
                <c:pt idx="77">
                  <c:v>28.89</c:v>
                </c:pt>
                <c:pt idx="78">
                  <c:v>28.99</c:v>
                </c:pt>
                <c:pt idx="79">
                  <c:v>29.09</c:v>
                </c:pt>
                <c:pt idx="80">
                  <c:v>29.19</c:v>
                </c:pt>
                <c:pt idx="81">
                  <c:v>29.29</c:v>
                </c:pt>
                <c:pt idx="82">
                  <c:v>29.39</c:v>
                </c:pt>
                <c:pt idx="83">
                  <c:v>29.49</c:v>
                </c:pt>
                <c:pt idx="84">
                  <c:v>29.59</c:v>
                </c:pt>
                <c:pt idx="85">
                  <c:v>29.69</c:v>
                </c:pt>
                <c:pt idx="86">
                  <c:v>29.79</c:v>
                </c:pt>
                <c:pt idx="87">
                  <c:v>29.89</c:v>
                </c:pt>
                <c:pt idx="88">
                  <c:v>29.99</c:v>
                </c:pt>
              </c:strCache>
            </c:strRef>
          </c:cat>
          <c:val>
            <c:numRef>
              <c:f>Sheet1!$D$2:$D$90</c:f>
              <c:numCache>
                <c:formatCode>General</c:formatCode>
                <c:ptCount val="89"/>
                <c:pt idx="0">
                  <c:v>49.488875424667576</c:v>
                </c:pt>
                <c:pt idx="1">
                  <c:v>50.971149213314874</c:v>
                </c:pt>
                <c:pt idx="2">
                  <c:v>52.443912805833534</c:v>
                </c:pt>
                <c:pt idx="3">
                  <c:v>53.907226650402194</c:v>
                </c:pt>
                <c:pt idx="4">
                  <c:v>55.36115078279582</c:v>
                </c:pt>
                <c:pt idx="5">
                  <c:v>56.80574482937742</c:v>
                </c:pt>
                <c:pt idx="6">
                  <c:v>58.241068010066435</c:v>
                </c:pt>
                <c:pt idx="7">
                  <c:v>59.66717914128276</c:v>
                </c:pt>
                <c:pt idx="8">
                  <c:v>61.08413663887233</c:v>
                </c:pt>
                <c:pt idx="9">
                  <c:v>62.491998521005485</c:v>
                </c:pt>
                <c:pt idx="10">
                  <c:v>63.890822411056945</c:v>
                </c:pt>
                <c:pt idx="11">
                  <c:v>65.28066554045995</c:v>
                </c:pt>
                <c:pt idx="12">
                  <c:v>66.66158475154259</c:v>
                </c:pt>
                <c:pt idx="13">
                  <c:v>68.03363650033862</c:v>
                </c:pt>
                <c:pt idx="14">
                  <c:v>69.39687685938027</c:v>
                </c:pt>
                <c:pt idx="15">
                  <c:v>70.75136152046623</c:v>
                </c:pt>
                <c:pt idx="16">
                  <c:v>72.09714579740955</c:v>
                </c:pt>
                <c:pt idx="17">
                  <c:v>73.43428462876714</c:v>
                </c:pt>
                <c:pt idx="18">
                  <c:v>74.76283258054436</c:v>
                </c:pt>
                <c:pt idx="19">
                  <c:v>76.08284384888022</c:v>
                </c:pt>
                <c:pt idx="20">
                  <c:v>77.39437226271433</c:v>
                </c:pt>
                <c:pt idx="21">
                  <c:v>78.69747128642972</c:v>
                </c:pt>
                <c:pt idx="22">
                  <c:v>79.99219402247829</c:v>
                </c:pt>
                <c:pt idx="23">
                  <c:v>81.27859321398422</c:v>
                </c:pt>
                <c:pt idx="24">
                  <c:v>82.55672124733044</c:v>
                </c:pt>
                <c:pt idx="25">
                  <c:v>83.82663015472005</c:v>
                </c:pt>
                <c:pt idx="26">
                  <c:v>85.08837161672372</c:v>
                </c:pt>
                <c:pt idx="27">
                  <c:v>86.34199696480468</c:v>
                </c:pt>
                <c:pt idx="28">
                  <c:v>87.5875571838247</c:v>
                </c:pt>
                <c:pt idx="29">
                  <c:v>88.86028863588923</c:v>
                </c:pt>
                <c:pt idx="30">
                  <c:v>90.1259262230735</c:v>
                </c:pt>
                <c:pt idx="31">
                  <c:v>91.38450654326262</c:v>
                </c:pt>
                <c:pt idx="32">
                  <c:v>92.63606600496048</c:v>
                </c:pt>
                <c:pt idx="33">
                  <c:v>93.88064082824032</c:v>
                </c:pt>
                <c:pt idx="34">
                  <c:v>95.11826704569593</c:v>
                </c:pt>
                <c:pt idx="35">
                  <c:v>96.34898050338181</c:v>
                </c:pt>
                <c:pt idx="36">
                  <c:v>97.5728168617549</c:v>
                </c:pt>
                <c:pt idx="37">
                  <c:v>98.78981159660772</c:v>
                </c:pt>
                <c:pt idx="38">
                  <c:v>100.0</c:v>
                </c:pt>
                <c:pt idx="39">
                  <c:v>101.20341718118098</c:v>
                </c:pt>
                <c:pt idx="40">
                  <c:v>102.40009806751202</c:v>
                </c:pt>
                <c:pt idx="41">
                  <c:v>103.59007740538266</c:v>
                </c:pt>
                <c:pt idx="42">
                  <c:v>104.77338976112121</c:v>
                </c:pt>
                <c:pt idx="43">
                  <c:v>105.95006952190313</c:v>
                </c:pt>
                <c:pt idx="44">
                  <c:v>107.12015089665312</c:v>
                </c:pt>
                <c:pt idx="45">
                  <c:v>108.28366791694239</c:v>
                </c:pt>
                <c:pt idx="46">
                  <c:v>109.44065443788472</c:v>
                </c:pt>
                <c:pt idx="47">
                  <c:v>110.59114413902287</c:v>
                </c:pt>
                <c:pt idx="48">
                  <c:v>111.73517052521646</c:v>
                </c:pt>
                <c:pt idx="49">
                  <c:v>112.87276692752101</c:v>
                </c:pt>
                <c:pt idx="50">
                  <c:v>114.00396650406448</c:v>
                </c:pt>
                <c:pt idx="51">
                  <c:v>115.12880224091913</c:v>
                </c:pt>
                <c:pt idx="52">
                  <c:v>116.2473069529709</c:v>
                </c:pt>
                <c:pt idx="53">
                  <c:v>117.35951328478012</c:v>
                </c:pt>
                <c:pt idx="54">
                  <c:v>118.46545371144384</c:v>
                </c:pt>
                <c:pt idx="55">
                  <c:v>119.56516053944755</c:v>
                </c:pt>
                <c:pt idx="56">
                  <c:v>120.65866590752012</c:v>
                </c:pt>
                <c:pt idx="57">
                  <c:v>121.74600178747642</c:v>
                </c:pt>
                <c:pt idx="58">
                  <c:v>122.82719998506329</c:v>
                </c:pt>
                <c:pt idx="59">
                  <c:v>123.90229214079498</c:v>
                </c:pt>
                <c:pt idx="60">
                  <c:v>124.9713097307899</c:v>
                </c:pt>
                <c:pt idx="61">
                  <c:v>126.0342840675996</c:v>
                </c:pt>
                <c:pt idx="62">
                  <c:v>127.09124630103597</c:v>
                </c:pt>
                <c:pt idx="63">
                  <c:v>128.1422274189919</c:v>
                </c:pt>
                <c:pt idx="64">
                  <c:v>129.18725824826038</c:v>
                </c:pt>
                <c:pt idx="65">
                  <c:v>130.2263694553489</c:v>
                </c:pt>
                <c:pt idx="66">
                  <c:v>131.2595915472898</c:v>
                </c:pt>
                <c:pt idx="67">
                  <c:v>132.28695487244565</c:v>
                </c:pt>
                <c:pt idx="68">
                  <c:v>133.30848962131128</c:v>
                </c:pt>
                <c:pt idx="69">
                  <c:v>134.32422582731346</c:v>
                </c:pt>
                <c:pt idx="70">
                  <c:v>135.334193367605</c:v>
                </c:pt>
                <c:pt idx="71">
                  <c:v>136.33842196385473</c:v>
                </c:pt>
                <c:pt idx="72">
                  <c:v>137.33694118303484</c:v>
                </c:pt>
                <c:pt idx="73">
                  <c:v>138.32978043820384</c:v>
                </c:pt>
                <c:pt idx="74">
                  <c:v>139.31696898928578</c:v>
                </c:pt>
                <c:pt idx="75">
                  <c:v>140.29853594384477</c:v>
                </c:pt>
                <c:pt idx="76">
                  <c:v>141.27451025785805</c:v>
                </c:pt>
                <c:pt idx="77">
                  <c:v>142.2449207364824</c:v>
                </c:pt>
                <c:pt idx="78">
                  <c:v>143.2097960348195</c:v>
                </c:pt>
                <c:pt idx="79">
                  <c:v>144.16916465867453</c:v>
                </c:pt>
                <c:pt idx="80">
                  <c:v>145.12305496531596</c:v>
                </c:pt>
                <c:pt idx="81">
                  <c:v>146.07149516422425</c:v>
                </c:pt>
                <c:pt idx="82">
                  <c:v>147.01451331784568</c:v>
                </c:pt>
                <c:pt idx="83">
                  <c:v>147.95213734233545</c:v>
                </c:pt>
                <c:pt idx="84">
                  <c:v>148.88439500830012</c:v>
                </c:pt>
                <c:pt idx="85">
                  <c:v>149.811313941537</c:v>
                </c:pt>
                <c:pt idx="86">
                  <c:v>150.73292162376748</c:v>
                </c:pt>
                <c:pt idx="87">
                  <c:v>151.64924539337133</c:v>
                </c:pt>
                <c:pt idx="88">
                  <c:v>152.5603124461107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0</c:f>
              <c:strCache>
                <c:ptCount val="89"/>
                <c:pt idx="0">
                  <c:v>21.19</c:v>
                </c:pt>
                <c:pt idx="1">
                  <c:v>21.29</c:v>
                </c:pt>
                <c:pt idx="2">
                  <c:v>21.39</c:v>
                </c:pt>
                <c:pt idx="3">
                  <c:v>21.49</c:v>
                </c:pt>
                <c:pt idx="4">
                  <c:v>21.59</c:v>
                </c:pt>
                <c:pt idx="5">
                  <c:v>21.69</c:v>
                </c:pt>
                <c:pt idx="6">
                  <c:v>21.79</c:v>
                </c:pt>
                <c:pt idx="7">
                  <c:v>21.89</c:v>
                </c:pt>
                <c:pt idx="8">
                  <c:v>21.99</c:v>
                </c:pt>
                <c:pt idx="9">
                  <c:v>22.09</c:v>
                </c:pt>
                <c:pt idx="10">
                  <c:v>22.19</c:v>
                </c:pt>
                <c:pt idx="11">
                  <c:v>22.29</c:v>
                </c:pt>
                <c:pt idx="12">
                  <c:v>22.39</c:v>
                </c:pt>
                <c:pt idx="13">
                  <c:v>22.49</c:v>
                </c:pt>
                <c:pt idx="14">
                  <c:v>22.59</c:v>
                </c:pt>
                <c:pt idx="15">
                  <c:v>22.69</c:v>
                </c:pt>
                <c:pt idx="16">
                  <c:v>22.79</c:v>
                </c:pt>
                <c:pt idx="17">
                  <c:v>22.89</c:v>
                </c:pt>
                <c:pt idx="18">
                  <c:v>22.99</c:v>
                </c:pt>
                <c:pt idx="19">
                  <c:v>23.09</c:v>
                </c:pt>
                <c:pt idx="20">
                  <c:v>23.19</c:v>
                </c:pt>
                <c:pt idx="21">
                  <c:v>23.29</c:v>
                </c:pt>
                <c:pt idx="22">
                  <c:v>23.39</c:v>
                </c:pt>
                <c:pt idx="23">
                  <c:v>23.49</c:v>
                </c:pt>
                <c:pt idx="24">
                  <c:v>23.59</c:v>
                </c:pt>
                <c:pt idx="25">
                  <c:v>23.69</c:v>
                </c:pt>
                <c:pt idx="26">
                  <c:v>23.79</c:v>
                </c:pt>
                <c:pt idx="27">
                  <c:v>23.89</c:v>
                </c:pt>
                <c:pt idx="28">
                  <c:v>23.99</c:v>
                </c:pt>
                <c:pt idx="29">
                  <c:v>24.09</c:v>
                </c:pt>
                <c:pt idx="30">
                  <c:v>24.19</c:v>
                </c:pt>
                <c:pt idx="31">
                  <c:v>24.29</c:v>
                </c:pt>
                <c:pt idx="32">
                  <c:v>24.39</c:v>
                </c:pt>
                <c:pt idx="33">
                  <c:v>24.49</c:v>
                </c:pt>
                <c:pt idx="34">
                  <c:v>24.59</c:v>
                </c:pt>
                <c:pt idx="35">
                  <c:v>24.69</c:v>
                </c:pt>
                <c:pt idx="36">
                  <c:v>24.79</c:v>
                </c:pt>
                <c:pt idx="37">
                  <c:v>24.89</c:v>
                </c:pt>
                <c:pt idx="38">
                  <c:v>24.99</c:v>
                </c:pt>
                <c:pt idx="39">
                  <c:v>25.09</c:v>
                </c:pt>
                <c:pt idx="40">
                  <c:v>25.19</c:v>
                </c:pt>
                <c:pt idx="41">
                  <c:v>25.29</c:v>
                </c:pt>
                <c:pt idx="42">
                  <c:v>25.39</c:v>
                </c:pt>
                <c:pt idx="43">
                  <c:v>25.49</c:v>
                </c:pt>
                <c:pt idx="44">
                  <c:v>25.59</c:v>
                </c:pt>
                <c:pt idx="45">
                  <c:v>25.69</c:v>
                </c:pt>
                <c:pt idx="46">
                  <c:v>25.79</c:v>
                </c:pt>
                <c:pt idx="47">
                  <c:v>25.89</c:v>
                </c:pt>
                <c:pt idx="48">
                  <c:v>25.99</c:v>
                </c:pt>
                <c:pt idx="49">
                  <c:v>26.09</c:v>
                </c:pt>
                <c:pt idx="50">
                  <c:v>26.19</c:v>
                </c:pt>
                <c:pt idx="51">
                  <c:v>26.29</c:v>
                </c:pt>
                <c:pt idx="52">
                  <c:v>26.39</c:v>
                </c:pt>
                <c:pt idx="53">
                  <c:v>26.49</c:v>
                </c:pt>
                <c:pt idx="54">
                  <c:v>26.59</c:v>
                </c:pt>
                <c:pt idx="55">
                  <c:v>26.69</c:v>
                </c:pt>
                <c:pt idx="56">
                  <c:v>26.79</c:v>
                </c:pt>
                <c:pt idx="57">
                  <c:v>26.89</c:v>
                </c:pt>
                <c:pt idx="58">
                  <c:v>26.99</c:v>
                </c:pt>
                <c:pt idx="59">
                  <c:v>27.09</c:v>
                </c:pt>
                <c:pt idx="60">
                  <c:v>27.19</c:v>
                </c:pt>
                <c:pt idx="61">
                  <c:v>27.29</c:v>
                </c:pt>
                <c:pt idx="62">
                  <c:v>27.39</c:v>
                </c:pt>
                <c:pt idx="63">
                  <c:v>27.49</c:v>
                </c:pt>
                <c:pt idx="64">
                  <c:v>27.59</c:v>
                </c:pt>
                <c:pt idx="65">
                  <c:v>27.69</c:v>
                </c:pt>
                <c:pt idx="66">
                  <c:v>27.79</c:v>
                </c:pt>
                <c:pt idx="67">
                  <c:v>27.89</c:v>
                </c:pt>
                <c:pt idx="68">
                  <c:v>27.99</c:v>
                </c:pt>
                <c:pt idx="69">
                  <c:v>28.09</c:v>
                </c:pt>
                <c:pt idx="70">
                  <c:v>28.19</c:v>
                </c:pt>
                <c:pt idx="71">
                  <c:v>28.29</c:v>
                </c:pt>
                <c:pt idx="72">
                  <c:v>28.39</c:v>
                </c:pt>
                <c:pt idx="73">
                  <c:v>28.49</c:v>
                </c:pt>
                <c:pt idx="74">
                  <c:v>28.59</c:v>
                </c:pt>
                <c:pt idx="75">
                  <c:v>28.69</c:v>
                </c:pt>
                <c:pt idx="76">
                  <c:v>28.79</c:v>
                </c:pt>
                <c:pt idx="77">
                  <c:v>28.89</c:v>
                </c:pt>
                <c:pt idx="78">
                  <c:v>28.99</c:v>
                </c:pt>
                <c:pt idx="79">
                  <c:v>29.09</c:v>
                </c:pt>
                <c:pt idx="80">
                  <c:v>29.19</c:v>
                </c:pt>
                <c:pt idx="81">
                  <c:v>29.29</c:v>
                </c:pt>
                <c:pt idx="82">
                  <c:v>29.39</c:v>
                </c:pt>
                <c:pt idx="83">
                  <c:v>29.49</c:v>
                </c:pt>
                <c:pt idx="84">
                  <c:v>29.59</c:v>
                </c:pt>
                <c:pt idx="85">
                  <c:v>29.69</c:v>
                </c:pt>
                <c:pt idx="86">
                  <c:v>29.79</c:v>
                </c:pt>
                <c:pt idx="87">
                  <c:v>29.89</c:v>
                </c:pt>
                <c:pt idx="88">
                  <c:v>29.99</c:v>
                </c:pt>
              </c:strCache>
            </c:strRef>
          </c:cat>
          <c:val>
            <c:numRef>
              <c:f>Sheet1!$E$2:$E$90</c:f>
              <c:numCache>
                <c:formatCode>General</c:formatCode>
                <c:ptCount val="89"/>
                <c:pt idx="0">
                  <c:v>0.1423106854711459</c:v>
                </c:pt>
                <c:pt idx="1">
                  <c:v>0.14633928723032322</c:v>
                </c:pt>
                <c:pt idx="2">
                  <c:v>0.1503302209038608</c:v>
                </c:pt>
                <c:pt idx="3">
                  <c:v>0.15428401233753292</c:v>
                </c:pt>
                <c:pt idx="4">
                  <c:v>0.15820117763471897</c:v>
                </c:pt>
                <c:pt idx="5">
                  <c:v>0.16208222338098585</c:v>
                </c:pt>
                <c:pt idx="6">
                  <c:v>0.16592764686248662</c:v>
                </c:pt>
                <c:pt idx="7">
                  <c:v>0.16973793627837291</c:v>
                </c:pt>
                <c:pt idx="8">
                  <c:v>0.1735135709474117</c:v>
                </c:pt>
                <c:pt idx="9">
                  <c:v>0.17725502150898953</c:v>
                </c:pt>
                <c:pt idx="10">
                  <c:v>0.1809627501186833</c:v>
                </c:pt>
                <c:pt idx="11">
                  <c:v>0.18463721063856364</c:v>
                </c:pt>
                <c:pt idx="12">
                  <c:v>0.18827884882240223</c:v>
                </c:pt>
                <c:pt idx="13">
                  <c:v>0.19188810249593505</c:v>
                </c:pt>
                <c:pt idx="14">
                  <c:v>0.19546540173234092</c:v>
                </c:pt>
                <c:pt idx="15">
                  <c:v>0.19901116902307533</c:v>
                </c:pt>
                <c:pt idx="16">
                  <c:v>0.2025258194442117</c:v>
                </c:pt>
                <c:pt idx="17">
                  <c:v>0.20600976081841765</c:v>
                </c:pt>
                <c:pt idx="18">
                  <c:v>0.20946339387270907</c:v>
                </c:pt>
                <c:pt idx="19">
                  <c:v>0.21288711239209973</c:v>
                </c:pt>
                <c:pt idx="20">
                  <c:v>0.2162813033692792</c:v>
                </c:pt>
                <c:pt idx="21">
                  <c:v>0.21964634715043319</c:v>
                </c:pt>
                <c:pt idx="22">
                  <c:v>0.22298261757732293</c:v>
                </c:pt>
                <c:pt idx="23">
                  <c:v>0.22629048212573774</c:v>
                </c:pt>
                <c:pt idx="24">
                  <c:v>0.22957030204042314</c:v>
                </c:pt>
                <c:pt idx="25">
                  <c:v>0.232822432466593</c:v>
                </c:pt>
                <c:pt idx="26">
                  <c:v>0.23604722257812485</c:v>
                </c:pt>
                <c:pt idx="27">
                  <c:v>0.23924501570253584</c:v>
                </c:pt>
                <c:pt idx="28">
                  <c:v>0.2424161494428338</c:v>
                </c:pt>
                <c:pt idx="29">
                  <c:v>0.24556095579632967</c:v>
                </c:pt>
                <c:pt idx="30">
                  <c:v>0.2486797612705079</c:v>
                </c:pt>
                <c:pt idx="31">
                  <c:v>0.2517728869960309</c:v>
                </c:pt>
                <c:pt idx="32">
                  <c:v>0.25484064883696533</c:v>
                </c:pt>
                <c:pt idx="33">
                  <c:v>0.2578833574983089</c:v>
                </c:pt>
                <c:pt idx="34">
                  <c:v>0.26090131863089006</c:v>
                </c:pt>
                <c:pt idx="35">
                  <c:v>0.2638948329337216</c:v>
                </c:pt>
                <c:pt idx="36">
                  <c:v>0.26686419625387603</c:v>
                </c:pt>
                <c:pt idx="37">
                  <c:v>0.2698096996839525</c:v>
                </c:pt>
                <c:pt idx="38">
                  <c:v>0.27273162965720604</c:v>
                </c:pt>
                <c:pt idx="39">
                  <c:v>0.27563026804039786</c:v>
                </c:pt>
                <c:pt idx="40">
                  <c:v>0.27850589222443756</c:v>
                </c:pt>
                <c:pt idx="41">
                  <c:v>0.2813587752128743</c:v>
                </c:pt>
                <c:pt idx="42">
                  <c:v>0.28418918570829393</c:v>
                </c:pt>
                <c:pt idx="43">
                  <c:v>0.28699738819668824</c:v>
                </c:pt>
                <c:pt idx="44">
                  <c:v>0.2897836430298393</c:v>
                </c:pt>
                <c:pt idx="45">
                  <c:v>0.2925482065057836</c:v>
                </c:pt>
                <c:pt idx="46">
                  <c:v>0.2952913309474055</c:v>
                </c:pt>
                <c:pt idx="47">
                  <c:v>0.2980132647792038</c:v>
                </c:pt>
                <c:pt idx="48">
                  <c:v>0.3007142526022924</c:v>
                </c:pt>
                <c:pt idx="49">
                  <c:v>0.3033945352676729</c:v>
                </c:pt>
                <c:pt idx="50">
                  <c:v>0.30605434994782693</c:v>
                </c:pt>
                <c:pt idx="51">
                  <c:v>0.3086939302066787</c:v>
                </c:pt>
                <c:pt idx="52">
                  <c:v>0.3113135060679645</c:v>
                </c:pt>
                <c:pt idx="53">
                  <c:v>0.313913304082053</c:v>
                </c:pt>
                <c:pt idx="54">
                  <c:v>0.3164935473912591</c:v>
                </c:pt>
                <c:pt idx="55">
                  <c:v>0.3190544557936899</c:v>
                </c:pt>
                <c:pt idx="56">
                  <c:v>0.3215962458056581</c:v>
                </c:pt>
                <c:pt idx="57">
                  <c:v>0.3241191307227067</c:v>
                </c:pt>
                <c:pt idx="58">
                  <c:v>0.3266233206792731</c:v>
                </c:pt>
                <c:pt idx="59">
                  <c:v>0.32910902270703535</c:v>
                </c:pt>
                <c:pt idx="60">
                  <c:v>0.3315764407919671</c:v>
                </c:pt>
                <c:pt idx="61">
                  <c:v>0.33402577593014243</c:v>
                </c:pt>
                <c:pt idx="62">
                  <c:v>0.33645722618231405</c:v>
                </c:pt>
                <c:pt idx="63">
                  <c:v>0.3388709867273041</c:v>
                </c:pt>
                <c:pt idx="64">
                  <c:v>0.34126724991422946</c:v>
                </c:pt>
                <c:pt idx="65">
                  <c:v>0.3436462053136001</c:v>
                </c:pt>
                <c:pt idx="66">
                  <c:v>0.34600803976731137</c:v>
                </c:pt>
                <c:pt idx="67">
                  <c:v>0.3483529374375614</c:v>
                </c:pt>
                <c:pt idx="68">
                  <c:v>0.350681079854719</c:v>
                </c:pt>
                <c:pt idx="69">
                  <c:v>0.3529926459641719</c:v>
                </c:pt>
                <c:pt idx="70">
                  <c:v>0.3552878121721739</c:v>
                </c:pt>
                <c:pt idx="71">
                  <c:v>0.35756675239072405</c:v>
                </c:pt>
                <c:pt idx="72">
                  <c:v>0.3598296380814929</c:v>
                </c:pt>
                <c:pt idx="73">
                  <c:v>0.3620766382988273</c:v>
                </c:pt>
                <c:pt idx="74">
                  <c:v>0.3643079197318496</c:v>
                </c:pt>
                <c:pt idx="75">
                  <c:v>0.366523646745681</c:v>
                </c:pt>
                <c:pt idx="76">
                  <c:v>0.36872398142179863</c:v>
                </c:pt>
                <c:pt idx="77">
                  <c:v>0.37090908359756253</c:v>
                </c:pt>
                <c:pt idx="78">
                  <c:v>0.3730791109049184</c:v>
                </c:pt>
                <c:pt idx="79">
                  <c:v>0.3752342188083046</c:v>
                </c:pt>
                <c:pt idx="80">
                  <c:v>0.377374560641781</c:v>
                </c:pt>
                <c:pt idx="81">
                  <c:v>0.37950028764539384</c:v>
                </c:pt>
                <c:pt idx="82">
                  <c:v>0.3816115490008024</c:v>
                </c:pt>
                <c:pt idx="83">
                  <c:v>0.38370849186617795</c:v>
                </c:pt>
                <c:pt idx="84">
                  <c:v>0.3857912614103949</c:v>
                </c:pt>
                <c:pt idx="85">
                  <c:v>0.3878600008465337</c:v>
                </c:pt>
                <c:pt idx="86">
                  <c:v>0.38991485146470567</c:v>
                </c:pt>
                <c:pt idx="87">
                  <c:v>0.39195595266422173</c:v>
                </c:pt>
                <c:pt idx="88">
                  <c:v>0.3939834419851145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9</c:f>
              <c:strCache>
                <c:ptCount val="108"/>
                <c:pt idx="0">
                  <c:v>25.99</c:v>
                </c:pt>
                <c:pt idx="1">
                  <c:v>26.09</c:v>
                </c:pt>
                <c:pt idx="2">
                  <c:v>26.19</c:v>
                </c:pt>
                <c:pt idx="3">
                  <c:v>26.29</c:v>
                </c:pt>
                <c:pt idx="4">
                  <c:v>26.39</c:v>
                </c:pt>
                <c:pt idx="5">
                  <c:v>26.49</c:v>
                </c:pt>
                <c:pt idx="6">
                  <c:v>26.59</c:v>
                </c:pt>
                <c:pt idx="7">
                  <c:v>26.69</c:v>
                </c:pt>
                <c:pt idx="8">
                  <c:v>26.79</c:v>
                </c:pt>
                <c:pt idx="9">
                  <c:v>26.89</c:v>
                </c:pt>
                <c:pt idx="10">
                  <c:v>26.99</c:v>
                </c:pt>
                <c:pt idx="11">
                  <c:v>27.09</c:v>
                </c:pt>
                <c:pt idx="12">
                  <c:v>27.19</c:v>
                </c:pt>
                <c:pt idx="13">
                  <c:v>27.29</c:v>
                </c:pt>
                <c:pt idx="14">
                  <c:v>27.39</c:v>
                </c:pt>
                <c:pt idx="15">
                  <c:v>27.49</c:v>
                </c:pt>
                <c:pt idx="16">
                  <c:v>27.59</c:v>
                </c:pt>
                <c:pt idx="17">
                  <c:v>27.69</c:v>
                </c:pt>
                <c:pt idx="18">
                  <c:v>27.79</c:v>
                </c:pt>
                <c:pt idx="19">
                  <c:v>27.89</c:v>
                </c:pt>
                <c:pt idx="20">
                  <c:v>27.99</c:v>
                </c:pt>
                <c:pt idx="21">
                  <c:v>28.09</c:v>
                </c:pt>
                <c:pt idx="22">
                  <c:v>28.19</c:v>
                </c:pt>
                <c:pt idx="23">
                  <c:v>28.29</c:v>
                </c:pt>
                <c:pt idx="24">
                  <c:v>28.39</c:v>
                </c:pt>
                <c:pt idx="25">
                  <c:v>28.49</c:v>
                </c:pt>
                <c:pt idx="26">
                  <c:v>28.59</c:v>
                </c:pt>
                <c:pt idx="27">
                  <c:v>28.69</c:v>
                </c:pt>
                <c:pt idx="28">
                  <c:v>28.79</c:v>
                </c:pt>
                <c:pt idx="29">
                  <c:v>28.89</c:v>
                </c:pt>
                <c:pt idx="30">
                  <c:v>28.99</c:v>
                </c:pt>
                <c:pt idx="31">
                  <c:v>29.09</c:v>
                </c:pt>
                <c:pt idx="32">
                  <c:v>29.19</c:v>
                </c:pt>
                <c:pt idx="33">
                  <c:v>29.29</c:v>
                </c:pt>
                <c:pt idx="34">
                  <c:v>29.39</c:v>
                </c:pt>
                <c:pt idx="35">
                  <c:v>29.49</c:v>
                </c:pt>
                <c:pt idx="36">
                  <c:v>29.59</c:v>
                </c:pt>
                <c:pt idx="37">
                  <c:v>29.69</c:v>
                </c:pt>
                <c:pt idx="38">
                  <c:v>29.79</c:v>
                </c:pt>
                <c:pt idx="39">
                  <c:v>29.89</c:v>
                </c:pt>
                <c:pt idx="40">
                  <c:v>29.99</c:v>
                </c:pt>
                <c:pt idx="41">
                  <c:v>30.09</c:v>
                </c:pt>
                <c:pt idx="42">
                  <c:v>30.19</c:v>
                </c:pt>
                <c:pt idx="43">
                  <c:v>30.29</c:v>
                </c:pt>
                <c:pt idx="44">
                  <c:v>30.39</c:v>
                </c:pt>
                <c:pt idx="45">
                  <c:v>30.49</c:v>
                </c:pt>
                <c:pt idx="46">
                  <c:v>30.59</c:v>
                </c:pt>
                <c:pt idx="47">
                  <c:v>30.69</c:v>
                </c:pt>
                <c:pt idx="48">
                  <c:v>30.79</c:v>
                </c:pt>
                <c:pt idx="49">
                  <c:v>30.89</c:v>
                </c:pt>
                <c:pt idx="50">
                  <c:v>30.99</c:v>
                </c:pt>
                <c:pt idx="51">
                  <c:v>31.09</c:v>
                </c:pt>
                <c:pt idx="52">
                  <c:v>31.19</c:v>
                </c:pt>
                <c:pt idx="53">
                  <c:v>31.29</c:v>
                </c:pt>
                <c:pt idx="54">
                  <c:v>31.39</c:v>
                </c:pt>
                <c:pt idx="55">
                  <c:v>31.49</c:v>
                </c:pt>
                <c:pt idx="56">
                  <c:v>31.59</c:v>
                </c:pt>
                <c:pt idx="57">
                  <c:v>31.69</c:v>
                </c:pt>
                <c:pt idx="58">
                  <c:v>31.79</c:v>
                </c:pt>
                <c:pt idx="59">
                  <c:v>31.89</c:v>
                </c:pt>
                <c:pt idx="60">
                  <c:v>31.99</c:v>
                </c:pt>
                <c:pt idx="61">
                  <c:v>32.09</c:v>
                </c:pt>
                <c:pt idx="62">
                  <c:v>32.19</c:v>
                </c:pt>
                <c:pt idx="63">
                  <c:v>32.29</c:v>
                </c:pt>
                <c:pt idx="64">
                  <c:v>32.39</c:v>
                </c:pt>
                <c:pt idx="65">
                  <c:v>32.49</c:v>
                </c:pt>
                <c:pt idx="66">
                  <c:v>32.59</c:v>
                </c:pt>
                <c:pt idx="67">
                  <c:v>32.69</c:v>
                </c:pt>
                <c:pt idx="68">
                  <c:v>32.79</c:v>
                </c:pt>
                <c:pt idx="69">
                  <c:v>32.89</c:v>
                </c:pt>
                <c:pt idx="70">
                  <c:v>32.99</c:v>
                </c:pt>
                <c:pt idx="71">
                  <c:v>33.09</c:v>
                </c:pt>
                <c:pt idx="72">
                  <c:v>33.19</c:v>
                </c:pt>
                <c:pt idx="73">
                  <c:v>33.29</c:v>
                </c:pt>
                <c:pt idx="74">
                  <c:v>33.39</c:v>
                </c:pt>
                <c:pt idx="75">
                  <c:v>33.49</c:v>
                </c:pt>
                <c:pt idx="76">
                  <c:v>33.59</c:v>
                </c:pt>
                <c:pt idx="77">
                  <c:v>33.69</c:v>
                </c:pt>
                <c:pt idx="78">
                  <c:v>33.79</c:v>
                </c:pt>
                <c:pt idx="79">
                  <c:v>33.89</c:v>
                </c:pt>
                <c:pt idx="80">
                  <c:v>33.99</c:v>
                </c:pt>
                <c:pt idx="81">
                  <c:v>34.09</c:v>
                </c:pt>
                <c:pt idx="82">
                  <c:v>34.19</c:v>
                </c:pt>
                <c:pt idx="83">
                  <c:v>34.29</c:v>
                </c:pt>
                <c:pt idx="84">
                  <c:v>34.39</c:v>
                </c:pt>
                <c:pt idx="85">
                  <c:v>34.49</c:v>
                </c:pt>
                <c:pt idx="86">
                  <c:v>34.59</c:v>
                </c:pt>
                <c:pt idx="87">
                  <c:v>34.69</c:v>
                </c:pt>
                <c:pt idx="88">
                  <c:v>34.79</c:v>
                </c:pt>
                <c:pt idx="89">
                  <c:v>34.89</c:v>
                </c:pt>
                <c:pt idx="90">
                  <c:v>34.99</c:v>
                </c:pt>
                <c:pt idx="91">
                  <c:v>35.09</c:v>
                </c:pt>
                <c:pt idx="92">
                  <c:v>35.19</c:v>
                </c:pt>
                <c:pt idx="93">
                  <c:v>35.29</c:v>
                </c:pt>
                <c:pt idx="94">
                  <c:v>35.39</c:v>
                </c:pt>
                <c:pt idx="95">
                  <c:v>35.49</c:v>
                </c:pt>
                <c:pt idx="96">
                  <c:v>35.59</c:v>
                </c:pt>
                <c:pt idx="97">
                  <c:v>35.69</c:v>
                </c:pt>
                <c:pt idx="98">
                  <c:v>35.79</c:v>
                </c:pt>
                <c:pt idx="99">
                  <c:v>35.89</c:v>
                </c:pt>
                <c:pt idx="100">
                  <c:v>35.99</c:v>
                </c:pt>
                <c:pt idx="101">
                  <c:v>36.09</c:v>
                </c:pt>
                <c:pt idx="102">
                  <c:v>36.19</c:v>
                </c:pt>
                <c:pt idx="103">
                  <c:v>36.29</c:v>
                </c:pt>
                <c:pt idx="104">
                  <c:v>36.39</c:v>
                </c:pt>
                <c:pt idx="105">
                  <c:v>36.49</c:v>
                </c:pt>
                <c:pt idx="106">
                  <c:v>36.59</c:v>
                </c:pt>
                <c:pt idx="107">
                  <c:v>36.69</c:v>
                </c:pt>
              </c:strCache>
            </c:strRef>
          </c:cat>
          <c:val>
            <c:numRef>
              <c:f>Sheet1!$B$2:$B$109</c:f>
              <c:numCache>
                <c:formatCode>General</c:formatCode>
                <c:ptCount val="108"/>
                <c:pt idx="0">
                  <c:v>113.15912212148014</c:v>
                </c:pt>
                <c:pt idx="1">
                  <c:v>112.87452959184525</c:v>
                </c:pt>
                <c:pt idx="2">
                  <c:v>112.5908413256003</c:v>
                </c:pt>
                <c:pt idx="3">
                  <c:v>112.30805409097331</c:v>
                </c:pt>
                <c:pt idx="4">
                  <c:v>112.02616466767962</c:v>
                </c:pt>
                <c:pt idx="5">
                  <c:v>111.74516984689069</c:v>
                </c:pt>
                <c:pt idx="6">
                  <c:v>111.46506643119946</c:v>
                </c:pt>
                <c:pt idx="7">
                  <c:v>111.18585123458953</c:v>
                </c:pt>
                <c:pt idx="8">
                  <c:v>110.90752108240022</c:v>
                </c:pt>
                <c:pt idx="9">
                  <c:v>110.63007281129558</c:v>
                </c:pt>
                <c:pt idx="10">
                  <c:v>110.35350326923141</c:v>
                </c:pt>
                <c:pt idx="11">
                  <c:v>110.07780931542221</c:v>
                </c:pt>
                <c:pt idx="12">
                  <c:v>109.80298782030802</c:v>
                </c:pt>
                <c:pt idx="13">
                  <c:v>109.52903566552277</c:v>
                </c:pt>
                <c:pt idx="14">
                  <c:v>109.25594974386081</c:v>
                </c:pt>
                <c:pt idx="15">
                  <c:v>108.98372695924468</c:v>
                </c:pt>
                <c:pt idx="16">
                  <c:v>108.71236422669139</c:v>
                </c:pt>
                <c:pt idx="17">
                  <c:v>108.4418584722817</c:v>
                </c:pt>
                <c:pt idx="18">
                  <c:v>108.17220663312577</c:v>
                </c:pt>
                <c:pt idx="19">
                  <c:v>107.9034056573303</c:v>
                </c:pt>
                <c:pt idx="20">
                  <c:v>107.63545250396842</c:v>
                </c:pt>
                <c:pt idx="21">
                  <c:v>107.36834414304421</c:v>
                </c:pt>
                <c:pt idx="22">
                  <c:v>107.10207755546072</c:v>
                </c:pt>
                <c:pt idx="23">
                  <c:v>106.83664973298912</c:v>
                </c:pt>
                <c:pt idx="24">
                  <c:v>106.5720576782341</c:v>
                </c:pt>
                <c:pt idx="25">
                  <c:v>106.30829840460203</c:v>
                </c:pt>
                <c:pt idx="26">
                  <c:v>106.04536893626882</c:v>
                </c:pt>
                <c:pt idx="27">
                  <c:v>105.78326630814749</c:v>
                </c:pt>
                <c:pt idx="28">
                  <c:v>105.52198756585449</c:v>
                </c:pt>
                <c:pt idx="29">
                  <c:v>105.26152976567845</c:v>
                </c:pt>
                <c:pt idx="30">
                  <c:v>105.00188997454747</c:v>
                </c:pt>
                <c:pt idx="31">
                  <c:v>104.74306526999635</c:v>
                </c:pt>
                <c:pt idx="32">
                  <c:v>104.48505274013522</c:v>
                </c:pt>
                <c:pt idx="33">
                  <c:v>104.22784948361488</c:v>
                </c:pt>
                <c:pt idx="34">
                  <c:v>103.97145260959755</c:v>
                </c:pt>
                <c:pt idx="35">
                  <c:v>103.71585923772221</c:v>
                </c:pt>
                <c:pt idx="36">
                  <c:v>103.4610664980731</c:v>
                </c:pt>
                <c:pt idx="37">
                  <c:v>103.20707153114792</c:v>
                </c:pt>
                <c:pt idx="38">
                  <c:v>102.95387148782449</c:v>
                </c:pt>
                <c:pt idx="39">
                  <c:v>102.70146352933092</c:v>
                </c:pt>
                <c:pt idx="40">
                  <c:v>102.44984482720925</c:v>
                </c:pt>
                <c:pt idx="41">
                  <c:v>102.03689757494745</c:v>
                </c:pt>
                <c:pt idx="42">
                  <c:v>101.62581740638277</c:v>
                </c:pt>
                <c:pt idx="43">
                  <c:v>101.21659591610836</c:v>
                </c:pt>
                <c:pt idx="44">
                  <c:v>100.80922473469907</c:v>
                </c:pt>
                <c:pt idx="45">
                  <c:v>100.40369552859758</c:v>
                </c:pt>
                <c:pt idx="46">
                  <c:v>100.0</c:v>
                </c:pt>
                <c:pt idx="47">
                  <c:v>99.59812988673885</c:v>
                </c:pt>
                <c:pt idx="48">
                  <c:v>99.19807696216425</c:v>
                </c:pt>
                <c:pt idx="49">
                  <c:v>98.79983303502145</c:v>
                </c:pt>
                <c:pt idx="50">
                  <c:v>98.40338994932827</c:v>
                </c:pt>
                <c:pt idx="51">
                  <c:v>98.00873958425007</c:v>
                </c:pt>
                <c:pt idx="52">
                  <c:v>97.61587385397068</c:v>
                </c:pt>
                <c:pt idx="53">
                  <c:v>97.22478470756424</c:v>
                </c:pt>
                <c:pt idx="54">
                  <c:v>96.83546412886352</c:v>
                </c:pt>
                <c:pt idx="55">
                  <c:v>96.44790413632664</c:v>
                </c:pt>
                <c:pt idx="56">
                  <c:v>96.06209678290234</c:v>
                </c:pt>
                <c:pt idx="57">
                  <c:v>95.67803415589337</c:v>
                </c:pt>
                <c:pt idx="58">
                  <c:v>95.29570837681757</c:v>
                </c:pt>
                <c:pt idx="59">
                  <c:v>94.91511160126916</c:v>
                </c:pt>
                <c:pt idx="60">
                  <c:v>94.53623601877575</c:v>
                </c:pt>
                <c:pt idx="61">
                  <c:v>94.15907385265693</c:v>
                </c:pt>
                <c:pt idx="62">
                  <c:v>93.7836173598795</c:v>
                </c:pt>
                <c:pt idx="63">
                  <c:v>93.40985883090977</c:v>
                </c:pt>
                <c:pt idx="64">
                  <c:v>93.0377905895699</c:v>
                </c:pt>
                <c:pt idx="65">
                  <c:v>92.66740499288665</c:v>
                </c:pt>
                <c:pt idx="66">
                  <c:v>92.2986944309432</c:v>
                </c:pt>
                <c:pt idx="67">
                  <c:v>91.93165132672814</c:v>
                </c:pt>
                <c:pt idx="68">
                  <c:v>91.56626813598409</c:v>
                </c:pt>
                <c:pt idx="69">
                  <c:v>91.20253734705354</c:v>
                </c:pt>
                <c:pt idx="70">
                  <c:v>90.84045148072674</c:v>
                </c:pt>
                <c:pt idx="71">
                  <c:v>90.48000309008593</c:v>
                </c:pt>
                <c:pt idx="72">
                  <c:v>90.1211847603505</c:v>
                </c:pt>
                <c:pt idx="73">
                  <c:v>89.76398910871933</c:v>
                </c:pt>
                <c:pt idx="74">
                  <c:v>89.40840878421518</c:v>
                </c:pt>
                <c:pt idx="75">
                  <c:v>89.0544364675263</c:v>
                </c:pt>
                <c:pt idx="76">
                  <c:v>88.70206487084695</c:v>
                </c:pt>
                <c:pt idx="77">
                  <c:v>88.3512867377211</c:v>
                </c:pt>
                <c:pt idx="78">
                  <c:v>88.00209484287991</c:v>
                </c:pt>
                <c:pt idx="79">
                  <c:v>87.65448199208373</c:v>
                </c:pt>
                <c:pt idx="80">
                  <c:v>87.308441021961</c:v>
                </c:pt>
                <c:pt idx="81">
                  <c:v>86.96396479984728</c:v>
                </c:pt>
                <c:pt idx="82">
                  <c:v>86.62104622362573</c:v>
                </c:pt>
                <c:pt idx="83">
                  <c:v>86.27967822156391</c:v>
                </c:pt>
                <c:pt idx="84">
                  <c:v>85.93985375215418</c:v>
                </c:pt>
                <c:pt idx="85">
                  <c:v>85.60156580395113</c:v>
                </c:pt>
                <c:pt idx="86">
                  <c:v>85.26480739541059</c:v>
                </c:pt>
                <c:pt idx="87">
                  <c:v>84.92957157472787</c:v>
                </c:pt>
                <c:pt idx="88">
                  <c:v>84.59585141967604</c:v>
                </c:pt>
                <c:pt idx="89">
                  <c:v>84.26364003744582</c:v>
                </c:pt>
                <c:pt idx="90">
                  <c:v>83.93293056448216</c:v>
                </c:pt>
                <c:pt idx="91">
                  <c:v>83.60371616632527</c:v>
                </c:pt>
                <c:pt idx="92">
                  <c:v>83.27599003744923</c:v>
                </c:pt>
                <c:pt idx="93">
                  <c:v>82.94974540110047</c:v>
                </c:pt>
                <c:pt idx="94">
                  <c:v>82.62497550913986</c:v>
                </c:pt>
                <c:pt idx="95">
                  <c:v>82.301673641881</c:v>
                </c:pt>
                <c:pt idx="96">
                  <c:v>81.97983310793272</c:v>
                </c:pt>
                <c:pt idx="97">
                  <c:v>81.65944724403845</c:v>
                </c:pt>
                <c:pt idx="98">
                  <c:v>81.34050941491996</c:v>
                </c:pt>
                <c:pt idx="99">
                  <c:v>81.02301301311975</c:v>
                </c:pt>
                <c:pt idx="100">
                  <c:v>80.70695145884214</c:v>
                </c:pt>
                <c:pt idx="101">
                  <c:v>80.39231819979993</c:v>
                </c:pt>
                <c:pt idx="102">
                  <c:v>80.07910671105685</c:v>
                </c:pt>
                <c:pt idx="103">
                  <c:v>79.7673104948739</c:v>
                </c:pt>
                <c:pt idx="104">
                  <c:v>79.45692308055608</c:v>
                </c:pt>
                <c:pt idx="105">
                  <c:v>79.14793802429767</c:v>
                </c:pt>
                <c:pt idx="106">
                  <c:v>78.84034890903231</c:v>
                </c:pt>
                <c:pt idx="107">
                  <c:v>78.53414934428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9</c:f>
              <c:strCache>
                <c:ptCount val="108"/>
                <c:pt idx="0">
                  <c:v>25.99</c:v>
                </c:pt>
                <c:pt idx="1">
                  <c:v>26.09</c:v>
                </c:pt>
                <c:pt idx="2">
                  <c:v>26.19</c:v>
                </c:pt>
                <c:pt idx="3">
                  <c:v>26.29</c:v>
                </c:pt>
                <c:pt idx="4">
                  <c:v>26.39</c:v>
                </c:pt>
                <c:pt idx="5">
                  <c:v>26.49</c:v>
                </c:pt>
                <c:pt idx="6">
                  <c:v>26.59</c:v>
                </c:pt>
                <c:pt idx="7">
                  <c:v>26.69</c:v>
                </c:pt>
                <c:pt idx="8">
                  <c:v>26.79</c:v>
                </c:pt>
                <c:pt idx="9">
                  <c:v>26.89</c:v>
                </c:pt>
                <c:pt idx="10">
                  <c:v>26.99</c:v>
                </c:pt>
                <c:pt idx="11">
                  <c:v>27.09</c:v>
                </c:pt>
                <c:pt idx="12">
                  <c:v>27.19</c:v>
                </c:pt>
                <c:pt idx="13">
                  <c:v>27.29</c:v>
                </c:pt>
                <c:pt idx="14">
                  <c:v>27.39</c:v>
                </c:pt>
                <c:pt idx="15">
                  <c:v>27.49</c:v>
                </c:pt>
                <c:pt idx="16">
                  <c:v>27.59</c:v>
                </c:pt>
                <c:pt idx="17">
                  <c:v>27.69</c:v>
                </c:pt>
                <c:pt idx="18">
                  <c:v>27.79</c:v>
                </c:pt>
                <c:pt idx="19">
                  <c:v>27.89</c:v>
                </c:pt>
                <c:pt idx="20">
                  <c:v>27.99</c:v>
                </c:pt>
                <c:pt idx="21">
                  <c:v>28.09</c:v>
                </c:pt>
                <c:pt idx="22">
                  <c:v>28.19</c:v>
                </c:pt>
                <c:pt idx="23">
                  <c:v>28.29</c:v>
                </c:pt>
                <c:pt idx="24">
                  <c:v>28.39</c:v>
                </c:pt>
                <c:pt idx="25">
                  <c:v>28.49</c:v>
                </c:pt>
                <c:pt idx="26">
                  <c:v>28.59</c:v>
                </c:pt>
                <c:pt idx="27">
                  <c:v>28.69</c:v>
                </c:pt>
                <c:pt idx="28">
                  <c:v>28.79</c:v>
                </c:pt>
                <c:pt idx="29">
                  <c:v>28.89</c:v>
                </c:pt>
                <c:pt idx="30">
                  <c:v>28.99</c:v>
                </c:pt>
                <c:pt idx="31">
                  <c:v>29.09</c:v>
                </c:pt>
                <c:pt idx="32">
                  <c:v>29.19</c:v>
                </c:pt>
                <c:pt idx="33">
                  <c:v>29.29</c:v>
                </c:pt>
                <c:pt idx="34">
                  <c:v>29.39</c:v>
                </c:pt>
                <c:pt idx="35">
                  <c:v>29.49</c:v>
                </c:pt>
                <c:pt idx="36">
                  <c:v>29.59</c:v>
                </c:pt>
                <c:pt idx="37">
                  <c:v>29.69</c:v>
                </c:pt>
                <c:pt idx="38">
                  <c:v>29.79</c:v>
                </c:pt>
                <c:pt idx="39">
                  <c:v>29.89</c:v>
                </c:pt>
                <c:pt idx="40">
                  <c:v>29.99</c:v>
                </c:pt>
                <c:pt idx="41">
                  <c:v>30.09</c:v>
                </c:pt>
                <c:pt idx="42">
                  <c:v>30.19</c:v>
                </c:pt>
                <c:pt idx="43">
                  <c:v>30.29</c:v>
                </c:pt>
                <c:pt idx="44">
                  <c:v>30.39</c:v>
                </c:pt>
                <c:pt idx="45">
                  <c:v>30.49</c:v>
                </c:pt>
                <c:pt idx="46">
                  <c:v>30.59</c:v>
                </c:pt>
                <c:pt idx="47">
                  <c:v>30.69</c:v>
                </c:pt>
                <c:pt idx="48">
                  <c:v>30.79</c:v>
                </c:pt>
                <c:pt idx="49">
                  <c:v>30.89</c:v>
                </c:pt>
                <c:pt idx="50">
                  <c:v>30.99</c:v>
                </c:pt>
                <c:pt idx="51">
                  <c:v>31.09</c:v>
                </c:pt>
                <c:pt idx="52">
                  <c:v>31.19</c:v>
                </c:pt>
                <c:pt idx="53">
                  <c:v>31.29</c:v>
                </c:pt>
                <c:pt idx="54">
                  <c:v>31.39</c:v>
                </c:pt>
                <c:pt idx="55">
                  <c:v>31.49</c:v>
                </c:pt>
                <c:pt idx="56">
                  <c:v>31.59</c:v>
                </c:pt>
                <c:pt idx="57">
                  <c:v>31.69</c:v>
                </c:pt>
                <c:pt idx="58">
                  <c:v>31.79</c:v>
                </c:pt>
                <c:pt idx="59">
                  <c:v>31.89</c:v>
                </c:pt>
                <c:pt idx="60">
                  <c:v>31.99</c:v>
                </c:pt>
                <c:pt idx="61">
                  <c:v>32.09</c:v>
                </c:pt>
                <c:pt idx="62">
                  <c:v>32.19</c:v>
                </c:pt>
                <c:pt idx="63">
                  <c:v>32.29</c:v>
                </c:pt>
                <c:pt idx="64">
                  <c:v>32.39</c:v>
                </c:pt>
                <c:pt idx="65">
                  <c:v>32.49</c:v>
                </c:pt>
                <c:pt idx="66">
                  <c:v>32.59</c:v>
                </c:pt>
                <c:pt idx="67">
                  <c:v>32.69</c:v>
                </c:pt>
                <c:pt idx="68">
                  <c:v>32.79</c:v>
                </c:pt>
                <c:pt idx="69">
                  <c:v>32.89</c:v>
                </c:pt>
                <c:pt idx="70">
                  <c:v>32.99</c:v>
                </c:pt>
                <c:pt idx="71">
                  <c:v>33.09</c:v>
                </c:pt>
                <c:pt idx="72">
                  <c:v>33.19</c:v>
                </c:pt>
                <c:pt idx="73">
                  <c:v>33.29</c:v>
                </c:pt>
                <c:pt idx="74">
                  <c:v>33.39</c:v>
                </c:pt>
                <c:pt idx="75">
                  <c:v>33.49</c:v>
                </c:pt>
                <c:pt idx="76">
                  <c:v>33.59</c:v>
                </c:pt>
                <c:pt idx="77">
                  <c:v>33.69</c:v>
                </c:pt>
                <c:pt idx="78">
                  <c:v>33.79</c:v>
                </c:pt>
                <c:pt idx="79">
                  <c:v>33.89</c:v>
                </c:pt>
                <c:pt idx="80">
                  <c:v>33.99</c:v>
                </c:pt>
                <c:pt idx="81">
                  <c:v>34.09</c:v>
                </c:pt>
                <c:pt idx="82">
                  <c:v>34.19</c:v>
                </c:pt>
                <c:pt idx="83">
                  <c:v>34.29</c:v>
                </c:pt>
                <c:pt idx="84">
                  <c:v>34.39</c:v>
                </c:pt>
                <c:pt idx="85">
                  <c:v>34.49</c:v>
                </c:pt>
                <c:pt idx="86">
                  <c:v>34.59</c:v>
                </c:pt>
                <c:pt idx="87">
                  <c:v>34.69</c:v>
                </c:pt>
                <c:pt idx="88">
                  <c:v>34.79</c:v>
                </c:pt>
                <c:pt idx="89">
                  <c:v>34.89</c:v>
                </c:pt>
                <c:pt idx="90">
                  <c:v>34.99</c:v>
                </c:pt>
                <c:pt idx="91">
                  <c:v>35.09</c:v>
                </c:pt>
                <c:pt idx="92">
                  <c:v>35.19</c:v>
                </c:pt>
                <c:pt idx="93">
                  <c:v>35.29</c:v>
                </c:pt>
                <c:pt idx="94">
                  <c:v>35.39</c:v>
                </c:pt>
                <c:pt idx="95">
                  <c:v>35.49</c:v>
                </c:pt>
                <c:pt idx="96">
                  <c:v>35.59</c:v>
                </c:pt>
                <c:pt idx="97">
                  <c:v>35.69</c:v>
                </c:pt>
                <c:pt idx="98">
                  <c:v>35.79</c:v>
                </c:pt>
                <c:pt idx="99">
                  <c:v>35.89</c:v>
                </c:pt>
                <c:pt idx="100">
                  <c:v>35.99</c:v>
                </c:pt>
                <c:pt idx="101">
                  <c:v>36.09</c:v>
                </c:pt>
                <c:pt idx="102">
                  <c:v>36.19</c:v>
                </c:pt>
                <c:pt idx="103">
                  <c:v>36.29</c:v>
                </c:pt>
                <c:pt idx="104">
                  <c:v>36.39</c:v>
                </c:pt>
                <c:pt idx="105">
                  <c:v>36.49</c:v>
                </c:pt>
                <c:pt idx="106">
                  <c:v>36.59</c:v>
                </c:pt>
                <c:pt idx="107">
                  <c:v>36.69</c:v>
                </c:pt>
              </c:strCache>
            </c:strRef>
          </c:cat>
          <c:val>
            <c:numRef>
              <c:f>Sheet1!$C$2:$C$109</c:f>
              <c:numCache>
                <c:formatCode>General</c:formatCode>
                <c:ptCount val="108"/>
                <c:pt idx="0">
                  <c:v>96.18134699197718</c:v>
                </c:pt>
                <c:pt idx="1">
                  <c:v>96.30753251380287</c:v>
                </c:pt>
                <c:pt idx="2">
                  <c:v>96.43263517546261</c:v>
                </c:pt>
                <c:pt idx="3">
                  <c:v>96.55666109648887</c:v>
                </c:pt>
                <c:pt idx="4">
                  <c:v>96.67961636332848</c:v>
                </c:pt>
                <c:pt idx="5">
                  <c:v>96.8015070295136</c:v>
                </c:pt>
                <c:pt idx="6">
                  <c:v>96.92233911582998</c:v>
                </c:pt>
                <c:pt idx="7">
                  <c:v>97.04211861048562</c:v>
                </c:pt>
                <c:pt idx="8">
                  <c:v>97.16085146927769</c:v>
                </c:pt>
                <c:pt idx="9">
                  <c:v>97.27854361575974</c:v>
                </c:pt>
                <c:pt idx="10">
                  <c:v>97.39520094140777</c:v>
                </c:pt>
                <c:pt idx="11">
                  <c:v>97.51082930578558</c:v>
                </c:pt>
                <c:pt idx="12">
                  <c:v>97.62543453670823</c:v>
                </c:pt>
                <c:pt idx="13">
                  <c:v>97.73902243040722</c:v>
                </c:pt>
                <c:pt idx="14">
                  <c:v>97.85159875169231</c:v>
                </c:pt>
                <c:pt idx="15">
                  <c:v>97.96316923411456</c:v>
                </c:pt>
                <c:pt idx="16">
                  <c:v>98.07373958012681</c:v>
                </c:pt>
                <c:pt idx="17">
                  <c:v>98.183315461246</c:v>
                </c:pt>
                <c:pt idx="18">
                  <c:v>98.2919025182118</c:v>
                </c:pt>
                <c:pt idx="19">
                  <c:v>98.39950636114588</c:v>
                </c:pt>
                <c:pt idx="20">
                  <c:v>98.50613256971226</c:v>
                </c:pt>
                <c:pt idx="21">
                  <c:v>98.61178669327292</c:v>
                </c:pt>
                <c:pt idx="22">
                  <c:v>98.71647425104536</c:v>
                </c:pt>
                <c:pt idx="23">
                  <c:v>98.82020073226049</c:v>
                </c:pt>
                <c:pt idx="24">
                  <c:v>98.92297159631657</c:v>
                </c:pt>
                <c:pt idx="25">
                  <c:v>99.02479227293429</c:v>
                </c:pt>
                <c:pt idx="26">
                  <c:v>99.12566816231208</c:v>
                </c:pt>
                <c:pt idx="27">
                  <c:v>99.22560463527897</c:v>
                </c:pt>
                <c:pt idx="28">
                  <c:v>99.32460703344658</c:v>
                </c:pt>
                <c:pt idx="29">
                  <c:v>99.4226806693624</c:v>
                </c:pt>
                <c:pt idx="30">
                  <c:v>99.5198308266605</c:v>
                </c:pt>
                <c:pt idx="31">
                  <c:v>99.61606276021227</c:v>
                </c:pt>
                <c:pt idx="32">
                  <c:v>99.71138169627697</c:v>
                </c:pt>
                <c:pt idx="33">
                  <c:v>99.80579283264909</c:v>
                </c:pt>
                <c:pt idx="34">
                  <c:v>99.89930133880941</c:v>
                </c:pt>
                <c:pt idx="35">
                  <c:v>99.99191235607118</c:v>
                </c:pt>
                <c:pt idx="36">
                  <c:v>100.08363099772737</c:v>
                </c:pt>
                <c:pt idx="37">
                  <c:v>100.17446234919785</c:v>
                </c:pt>
                <c:pt idx="38">
                  <c:v>100.26441146817437</c:v>
                </c:pt>
                <c:pt idx="39">
                  <c:v>100.35348338476734</c:v>
                </c:pt>
                <c:pt idx="40">
                  <c:v>100.44168310164652</c:v>
                </c:pt>
                <c:pt idx="41">
                  <c:v>100.37016052699938</c:v>
                </c:pt>
                <c:pt idx="42">
                  <c:v>100.29778829780011</c:v>
                </c:pt>
                <c:pt idx="43">
                  <c:v>100.22457632761935</c:v>
                </c:pt>
                <c:pt idx="44">
                  <c:v>100.1505344560415</c:v>
                </c:pt>
                <c:pt idx="45">
                  <c:v>100.07567244914841</c:v>
                </c:pt>
                <c:pt idx="46">
                  <c:v>100.0</c:v>
                </c:pt>
                <c:pt idx="47">
                  <c:v>99.9235267291093</c:v>
                </c:pt>
                <c:pt idx="48">
                  <c:v>99.84626218491387</c:v>
                </c:pt>
                <c:pt idx="49">
                  <c:v>99.76821584424047</c:v>
                </c:pt>
                <c:pt idx="50">
                  <c:v>99.68939711276693</c:v>
                </c:pt>
                <c:pt idx="51">
                  <c:v>99.60981532547986</c:v>
                </c:pt>
                <c:pt idx="52">
                  <c:v>99.52947974712396</c:v>
                </c:pt>
                <c:pt idx="53">
                  <c:v>99.4483995726512</c:v>
                </c:pt>
                <c:pt idx="54">
                  <c:v>99.36658392766222</c:v>
                </c:pt>
                <c:pt idx="55">
                  <c:v>99.28404186884472</c:v>
                </c:pt>
                <c:pt idx="56">
                  <c:v>99.20078238440607</c:v>
                </c:pt>
                <c:pt idx="57">
                  <c:v>99.11681439450255</c:v>
                </c:pt>
                <c:pt idx="58">
                  <c:v>99.03214675166235</c:v>
                </c:pt>
                <c:pt idx="59">
                  <c:v>98.94678824120604</c:v>
                </c:pt>
                <c:pt idx="60">
                  <c:v>98.86074758166006</c:v>
                </c:pt>
                <c:pt idx="61">
                  <c:v>98.77403342516878</c:v>
                </c:pt>
                <c:pt idx="62">
                  <c:v>98.68665435789946</c:v>
                </c:pt>
                <c:pt idx="63">
                  <c:v>98.59861890044212</c:v>
                </c:pt>
                <c:pt idx="64">
                  <c:v>98.50993550820995</c:v>
                </c:pt>
                <c:pt idx="65">
                  <c:v>98.42061257182866</c:v>
                </c:pt>
                <c:pt idx="66">
                  <c:v>98.33065841752622</c:v>
                </c:pt>
                <c:pt idx="67">
                  <c:v>98.24008130751663</c:v>
                </c:pt>
                <c:pt idx="68">
                  <c:v>98.14888944037983</c:v>
                </c:pt>
                <c:pt idx="69">
                  <c:v>98.05709095143584</c:v>
                </c:pt>
                <c:pt idx="70">
                  <c:v>97.96469391311734</c:v>
                </c:pt>
                <c:pt idx="71">
                  <c:v>97.87170633533606</c:v>
                </c:pt>
                <c:pt idx="72">
                  <c:v>97.77813616584646</c:v>
                </c:pt>
                <c:pt idx="73">
                  <c:v>97.68399129060312</c:v>
                </c:pt>
                <c:pt idx="74">
                  <c:v>97.58927953411694</c:v>
                </c:pt>
                <c:pt idx="75">
                  <c:v>97.4940086598059</c:v>
                </c:pt>
                <c:pt idx="76">
                  <c:v>97.39818637034084</c:v>
                </c:pt>
                <c:pt idx="77">
                  <c:v>97.30182030799116</c:v>
                </c:pt>
                <c:pt idx="78">
                  <c:v>97.20491805496117</c:v>
                </c:pt>
                <c:pt idx="79">
                  <c:v>97.10748713372772</c:v>
                </c:pt>
                <c:pt idx="80">
                  <c:v>97.00953500737131</c:v>
                </c:pt>
                <c:pt idx="81">
                  <c:v>96.91106907990394</c:v>
                </c:pt>
                <c:pt idx="82">
                  <c:v>96.81209669659525</c:v>
                </c:pt>
                <c:pt idx="83">
                  <c:v>96.71262514429174</c:v>
                </c:pt>
                <c:pt idx="84">
                  <c:v>96.61266165173608</c:v>
                </c:pt>
                <c:pt idx="85">
                  <c:v>96.51221338988036</c:v>
                </c:pt>
                <c:pt idx="86">
                  <c:v>96.4112874721975</c:v>
                </c:pt>
                <c:pt idx="87">
                  <c:v>96.30989095498875</c:v>
                </c:pt>
                <c:pt idx="88">
                  <c:v>96.20803083768766</c:v>
                </c:pt>
                <c:pt idx="89">
                  <c:v>96.10571406316305</c:v>
                </c:pt>
                <c:pt idx="90">
                  <c:v>96.00294751801457</c:v>
                </c:pt>
                <c:pt idx="91">
                  <c:v>95.89973803287</c:v>
                </c:pt>
                <c:pt idx="92">
                  <c:v>95.79609238267722</c:v>
                </c:pt>
                <c:pt idx="93">
                  <c:v>95.69201728699198</c:v>
                </c:pt>
                <c:pt idx="94">
                  <c:v>95.58751941026696</c:v>
                </c:pt>
                <c:pt idx="95">
                  <c:v>95.48260536213303</c:v>
                </c:pt>
                <c:pt idx="96">
                  <c:v>95.37728169768242</c:v>
                </c:pt>
                <c:pt idx="97">
                  <c:v>95.27155491774523</c:v>
                </c:pt>
                <c:pt idx="98">
                  <c:v>95.16543146916682</c:v>
                </c:pt>
                <c:pt idx="99">
                  <c:v>95.05891774508186</c:v>
                </c:pt>
                <c:pt idx="100">
                  <c:v>94.95202008518253</c:v>
                </c:pt>
                <c:pt idx="101">
                  <c:v>94.84474477599076</c:v>
                </c:pt>
                <c:pt idx="102">
                  <c:v>94.73709805112212</c:v>
                </c:pt>
                <c:pt idx="103">
                  <c:v>94.62908609155114</c:v>
                </c:pt>
                <c:pt idx="104">
                  <c:v>94.52071502587408</c:v>
                </c:pt>
                <c:pt idx="105">
                  <c:v>94.41199093056719</c:v>
                </c:pt>
                <c:pt idx="106">
                  <c:v>94.30291983024672</c:v>
                </c:pt>
                <c:pt idx="107">
                  <c:v>94.193507697924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9</c:f>
              <c:strCache>
                <c:ptCount val="108"/>
                <c:pt idx="0">
                  <c:v>25.99</c:v>
                </c:pt>
                <c:pt idx="1">
                  <c:v>26.09</c:v>
                </c:pt>
                <c:pt idx="2">
                  <c:v>26.19</c:v>
                </c:pt>
                <c:pt idx="3">
                  <c:v>26.29</c:v>
                </c:pt>
                <c:pt idx="4">
                  <c:v>26.39</c:v>
                </c:pt>
                <c:pt idx="5">
                  <c:v>26.49</c:v>
                </c:pt>
                <c:pt idx="6">
                  <c:v>26.59</c:v>
                </c:pt>
                <c:pt idx="7">
                  <c:v>26.69</c:v>
                </c:pt>
                <c:pt idx="8">
                  <c:v>26.79</c:v>
                </c:pt>
                <c:pt idx="9">
                  <c:v>26.89</c:v>
                </c:pt>
                <c:pt idx="10">
                  <c:v>26.99</c:v>
                </c:pt>
                <c:pt idx="11">
                  <c:v>27.09</c:v>
                </c:pt>
                <c:pt idx="12">
                  <c:v>27.19</c:v>
                </c:pt>
                <c:pt idx="13">
                  <c:v>27.29</c:v>
                </c:pt>
                <c:pt idx="14">
                  <c:v>27.39</c:v>
                </c:pt>
                <c:pt idx="15">
                  <c:v>27.49</c:v>
                </c:pt>
                <c:pt idx="16">
                  <c:v>27.59</c:v>
                </c:pt>
                <c:pt idx="17">
                  <c:v>27.69</c:v>
                </c:pt>
                <c:pt idx="18">
                  <c:v>27.79</c:v>
                </c:pt>
                <c:pt idx="19">
                  <c:v>27.89</c:v>
                </c:pt>
                <c:pt idx="20">
                  <c:v>27.99</c:v>
                </c:pt>
                <c:pt idx="21">
                  <c:v>28.09</c:v>
                </c:pt>
                <c:pt idx="22">
                  <c:v>28.19</c:v>
                </c:pt>
                <c:pt idx="23">
                  <c:v>28.29</c:v>
                </c:pt>
                <c:pt idx="24">
                  <c:v>28.39</c:v>
                </c:pt>
                <c:pt idx="25">
                  <c:v>28.49</c:v>
                </c:pt>
                <c:pt idx="26">
                  <c:v>28.59</c:v>
                </c:pt>
                <c:pt idx="27">
                  <c:v>28.69</c:v>
                </c:pt>
                <c:pt idx="28">
                  <c:v>28.79</c:v>
                </c:pt>
                <c:pt idx="29">
                  <c:v>28.89</c:v>
                </c:pt>
                <c:pt idx="30">
                  <c:v>28.99</c:v>
                </c:pt>
                <c:pt idx="31">
                  <c:v>29.09</c:v>
                </c:pt>
                <c:pt idx="32">
                  <c:v>29.19</c:v>
                </c:pt>
                <c:pt idx="33">
                  <c:v>29.29</c:v>
                </c:pt>
                <c:pt idx="34">
                  <c:v>29.39</c:v>
                </c:pt>
                <c:pt idx="35">
                  <c:v>29.49</c:v>
                </c:pt>
                <c:pt idx="36">
                  <c:v>29.59</c:v>
                </c:pt>
                <c:pt idx="37">
                  <c:v>29.69</c:v>
                </c:pt>
                <c:pt idx="38">
                  <c:v>29.79</c:v>
                </c:pt>
                <c:pt idx="39">
                  <c:v>29.89</c:v>
                </c:pt>
                <c:pt idx="40">
                  <c:v>29.99</c:v>
                </c:pt>
                <c:pt idx="41">
                  <c:v>30.09</c:v>
                </c:pt>
                <c:pt idx="42">
                  <c:v>30.19</c:v>
                </c:pt>
                <c:pt idx="43">
                  <c:v>30.29</c:v>
                </c:pt>
                <c:pt idx="44">
                  <c:v>30.39</c:v>
                </c:pt>
                <c:pt idx="45">
                  <c:v>30.49</c:v>
                </c:pt>
                <c:pt idx="46">
                  <c:v>30.59</c:v>
                </c:pt>
                <c:pt idx="47">
                  <c:v>30.69</c:v>
                </c:pt>
                <c:pt idx="48">
                  <c:v>30.79</c:v>
                </c:pt>
                <c:pt idx="49">
                  <c:v>30.89</c:v>
                </c:pt>
                <c:pt idx="50">
                  <c:v>30.99</c:v>
                </c:pt>
                <c:pt idx="51">
                  <c:v>31.09</c:v>
                </c:pt>
                <c:pt idx="52">
                  <c:v>31.19</c:v>
                </c:pt>
                <c:pt idx="53">
                  <c:v>31.29</c:v>
                </c:pt>
                <c:pt idx="54">
                  <c:v>31.39</c:v>
                </c:pt>
                <c:pt idx="55">
                  <c:v>31.49</c:v>
                </c:pt>
                <c:pt idx="56">
                  <c:v>31.59</c:v>
                </c:pt>
                <c:pt idx="57">
                  <c:v>31.69</c:v>
                </c:pt>
                <c:pt idx="58">
                  <c:v>31.79</c:v>
                </c:pt>
                <c:pt idx="59">
                  <c:v>31.89</c:v>
                </c:pt>
                <c:pt idx="60">
                  <c:v>31.99</c:v>
                </c:pt>
                <c:pt idx="61">
                  <c:v>32.09</c:v>
                </c:pt>
                <c:pt idx="62">
                  <c:v>32.19</c:v>
                </c:pt>
                <c:pt idx="63">
                  <c:v>32.29</c:v>
                </c:pt>
                <c:pt idx="64">
                  <c:v>32.39</c:v>
                </c:pt>
                <c:pt idx="65">
                  <c:v>32.49</c:v>
                </c:pt>
                <c:pt idx="66">
                  <c:v>32.59</c:v>
                </c:pt>
                <c:pt idx="67">
                  <c:v>32.69</c:v>
                </c:pt>
                <c:pt idx="68">
                  <c:v>32.79</c:v>
                </c:pt>
                <c:pt idx="69">
                  <c:v>32.89</c:v>
                </c:pt>
                <c:pt idx="70">
                  <c:v>32.99</c:v>
                </c:pt>
                <c:pt idx="71">
                  <c:v>33.09</c:v>
                </c:pt>
                <c:pt idx="72">
                  <c:v>33.19</c:v>
                </c:pt>
                <c:pt idx="73">
                  <c:v>33.29</c:v>
                </c:pt>
                <c:pt idx="74">
                  <c:v>33.39</c:v>
                </c:pt>
                <c:pt idx="75">
                  <c:v>33.49</c:v>
                </c:pt>
                <c:pt idx="76">
                  <c:v>33.59</c:v>
                </c:pt>
                <c:pt idx="77">
                  <c:v>33.69</c:v>
                </c:pt>
                <c:pt idx="78">
                  <c:v>33.79</c:v>
                </c:pt>
                <c:pt idx="79">
                  <c:v>33.89</c:v>
                </c:pt>
                <c:pt idx="80">
                  <c:v>33.99</c:v>
                </c:pt>
                <c:pt idx="81">
                  <c:v>34.09</c:v>
                </c:pt>
                <c:pt idx="82">
                  <c:v>34.19</c:v>
                </c:pt>
                <c:pt idx="83">
                  <c:v>34.29</c:v>
                </c:pt>
                <c:pt idx="84">
                  <c:v>34.39</c:v>
                </c:pt>
                <c:pt idx="85">
                  <c:v>34.49</c:v>
                </c:pt>
                <c:pt idx="86">
                  <c:v>34.59</c:v>
                </c:pt>
                <c:pt idx="87">
                  <c:v>34.69</c:v>
                </c:pt>
                <c:pt idx="88">
                  <c:v>34.79</c:v>
                </c:pt>
                <c:pt idx="89">
                  <c:v>34.89</c:v>
                </c:pt>
                <c:pt idx="90">
                  <c:v>34.99</c:v>
                </c:pt>
                <c:pt idx="91">
                  <c:v>35.09</c:v>
                </c:pt>
                <c:pt idx="92">
                  <c:v>35.19</c:v>
                </c:pt>
                <c:pt idx="93">
                  <c:v>35.29</c:v>
                </c:pt>
                <c:pt idx="94">
                  <c:v>35.39</c:v>
                </c:pt>
                <c:pt idx="95">
                  <c:v>35.49</c:v>
                </c:pt>
                <c:pt idx="96">
                  <c:v>35.59</c:v>
                </c:pt>
                <c:pt idx="97">
                  <c:v>35.69</c:v>
                </c:pt>
                <c:pt idx="98">
                  <c:v>35.79</c:v>
                </c:pt>
                <c:pt idx="99">
                  <c:v>35.89</c:v>
                </c:pt>
                <c:pt idx="100">
                  <c:v>35.99</c:v>
                </c:pt>
                <c:pt idx="101">
                  <c:v>36.09</c:v>
                </c:pt>
                <c:pt idx="102">
                  <c:v>36.19</c:v>
                </c:pt>
                <c:pt idx="103">
                  <c:v>36.29</c:v>
                </c:pt>
                <c:pt idx="104">
                  <c:v>36.39</c:v>
                </c:pt>
                <c:pt idx="105">
                  <c:v>36.49</c:v>
                </c:pt>
                <c:pt idx="106">
                  <c:v>36.59</c:v>
                </c:pt>
                <c:pt idx="107">
                  <c:v>36.69</c:v>
                </c:pt>
              </c:strCache>
            </c:strRef>
          </c:cat>
          <c:val>
            <c:numRef>
              <c:f>Sheet1!$D$2:$D$109</c:f>
              <c:numCache>
                <c:formatCode>General</c:formatCode>
                <c:ptCount val="108"/>
                <c:pt idx="0">
                  <c:v>70.361468033512</c:v>
                </c:pt>
                <c:pt idx="1">
                  <c:v>71.11249637063356</c:v>
                </c:pt>
                <c:pt idx="2">
                  <c:v>71.85942457160915</c:v>
                </c:pt>
                <c:pt idx="3">
                  <c:v>72.60227282282582</c:v>
                </c:pt>
                <c:pt idx="4">
                  <c:v>73.34106121217363</c:v>
                </c:pt>
                <c:pt idx="5">
                  <c:v>74.07580972949484</c:v>
                </c:pt>
                <c:pt idx="6">
                  <c:v>74.80653826703008</c:v>
                </c:pt>
                <c:pt idx="7">
                  <c:v>75.53326661986348</c:v>
                </c:pt>
                <c:pt idx="8">
                  <c:v>76.25601448636566</c:v>
                </c:pt>
                <c:pt idx="9">
                  <c:v>76.97480146863634</c:v>
                </c:pt>
                <c:pt idx="10">
                  <c:v>77.68964707294444</c:v>
                </c:pt>
                <c:pt idx="11">
                  <c:v>78.40057071016648</c:v>
                </c:pt>
                <c:pt idx="12">
                  <c:v>79.10759169622352</c:v>
                </c:pt>
                <c:pt idx="13">
                  <c:v>79.8107292525176</c:v>
                </c:pt>
                <c:pt idx="14">
                  <c:v>80.51000250636433</c:v>
                </c:pt>
                <c:pt idx="15">
                  <c:v>81.20543049142634</c:v>
                </c:pt>
                <c:pt idx="16">
                  <c:v>81.8970321481429</c:v>
                </c:pt>
                <c:pt idx="17">
                  <c:v>82.58482632416029</c:v>
                </c:pt>
                <c:pt idx="18">
                  <c:v>83.26883177475898</c:v>
                </c:pt>
                <c:pt idx="19">
                  <c:v>83.94906716327813</c:v>
                </c:pt>
                <c:pt idx="20">
                  <c:v>84.62555106154282</c:v>
                </c:pt>
                <c:pt idx="21">
                  <c:v>85.29830195028445</c:v>
                </c:pt>
                <c:pt idx="22">
                  <c:v>85.96733821956231</c:v>
                </c:pt>
                <c:pt idx="23">
                  <c:v>86.63267816918501</c:v>
                </c:pt>
                <c:pt idx="24">
                  <c:v>87.29434000912615</c:v>
                </c:pt>
                <c:pt idx="25">
                  <c:v>87.95234185994215</c:v>
                </c:pt>
                <c:pt idx="26">
                  <c:v>88.60670175318714</c:v>
                </c:pt>
                <c:pt idx="27">
                  <c:v>89.25743763182643</c:v>
                </c:pt>
                <c:pt idx="28">
                  <c:v>89.90456735064728</c:v>
                </c:pt>
                <c:pt idx="29">
                  <c:v>90.54810867667038</c:v>
                </c:pt>
                <c:pt idx="30">
                  <c:v>91.18807928955768</c:v>
                </c:pt>
                <c:pt idx="31">
                  <c:v>91.82449678201992</c:v>
                </c:pt>
                <c:pt idx="32">
                  <c:v>92.45737866022247</c:v>
                </c:pt>
                <c:pt idx="33">
                  <c:v>93.08674234418774</c:v>
                </c:pt>
                <c:pt idx="34">
                  <c:v>93.71260516819966</c:v>
                </c:pt>
                <c:pt idx="35">
                  <c:v>94.33498438120354</c:v>
                </c:pt>
                <c:pt idx="36">
                  <c:v>94.95389714720469</c:v>
                </c:pt>
                <c:pt idx="37">
                  <c:v>95.56936054566776</c:v>
                </c:pt>
                <c:pt idx="38">
                  <c:v>96.18139157191146</c:v>
                </c:pt>
                <c:pt idx="39">
                  <c:v>96.79000713750514</c:v>
                </c:pt>
                <c:pt idx="40">
                  <c:v>97.39522407065861</c:v>
                </c:pt>
                <c:pt idx="41">
                  <c:v>97.84168561144733</c:v>
                </c:pt>
                <c:pt idx="42">
                  <c:v>98.28316408774363</c:v>
                </c:pt>
                <c:pt idx="43">
                  <c:v>98.71969731205103</c:v>
                </c:pt>
                <c:pt idx="44">
                  <c:v>99.15132285645835</c:v>
                </c:pt>
                <c:pt idx="45">
                  <c:v>99.57807805399815</c:v>
                </c:pt>
                <c:pt idx="46">
                  <c:v>100.0</c:v>
                </c:pt>
                <c:pt idx="47">
                  <c:v>100.41712555343378</c:v>
                </c:pt>
                <c:pt idx="48">
                  <c:v>100.82949133824717</c:v>
                </c:pt>
                <c:pt idx="49">
                  <c:v>101.23713374469219</c:v>
                </c:pt>
                <c:pt idx="50">
                  <c:v>101.64008893064715</c:v>
                </c:pt>
                <c:pt idx="51">
                  <c:v>102.038392822929</c:v>
                </c:pt>
                <c:pt idx="52">
                  <c:v>102.4320811185952</c:v>
                </c:pt>
                <c:pt idx="53">
                  <c:v>102.82118928624169</c:v>
                </c:pt>
                <c:pt idx="54">
                  <c:v>103.20575256728884</c:v>
                </c:pt>
                <c:pt idx="55">
                  <c:v>103.58580597726107</c:v>
                </c:pt>
                <c:pt idx="56">
                  <c:v>103.96138430705707</c:v>
                </c:pt>
                <c:pt idx="57">
                  <c:v>104.33252212421296</c:v>
                </c:pt>
                <c:pt idx="58">
                  <c:v>104.69925377415403</c:v>
                </c:pt>
                <c:pt idx="59">
                  <c:v>105.06161338144184</c:v>
                </c:pt>
                <c:pt idx="60">
                  <c:v>105.41963485100942</c:v>
                </c:pt>
                <c:pt idx="61">
                  <c:v>105.77335186939038</c:v>
                </c:pt>
                <c:pt idx="62">
                  <c:v>106.12279790593777</c:v>
                </c:pt>
                <c:pt idx="63">
                  <c:v>106.46800621403362</c:v>
                </c:pt>
                <c:pt idx="64">
                  <c:v>106.80900983229391</c:v>
                </c:pt>
                <c:pt idx="65">
                  <c:v>107.14584158575948</c:v>
                </c:pt>
                <c:pt idx="66">
                  <c:v>107.47853408708173</c:v>
                </c:pt>
                <c:pt idx="67">
                  <c:v>107.80711973769921</c:v>
                </c:pt>
                <c:pt idx="68">
                  <c:v>108.13163072900527</c:v>
                </c:pt>
                <c:pt idx="69">
                  <c:v>108.45209904350523</c:v>
                </c:pt>
                <c:pt idx="70">
                  <c:v>108.7685564559689</c:v>
                </c:pt>
                <c:pt idx="71">
                  <c:v>109.08103453457063</c:v>
                </c:pt>
                <c:pt idx="72">
                  <c:v>109.38956464202367</c:v>
                </c:pt>
                <c:pt idx="73">
                  <c:v>109.6941779367026</c:v>
                </c:pt>
                <c:pt idx="74">
                  <c:v>109.99490537376131</c:v>
                </c:pt>
                <c:pt idx="75">
                  <c:v>110.29177770623902</c:v>
                </c:pt>
                <c:pt idx="76">
                  <c:v>110.58482548615893</c:v>
                </c:pt>
                <c:pt idx="77">
                  <c:v>110.87407906562052</c:v>
                </c:pt>
                <c:pt idx="78">
                  <c:v>111.15956859787917</c:v>
                </c:pt>
                <c:pt idx="79">
                  <c:v>111.4413240384207</c:v>
                </c:pt>
                <c:pt idx="80">
                  <c:v>111.71937514602695</c:v>
                </c:pt>
                <c:pt idx="81">
                  <c:v>111.99375148383143</c:v>
                </c:pt>
                <c:pt idx="82">
                  <c:v>112.2644824203702</c:v>
                </c:pt>
                <c:pt idx="83">
                  <c:v>112.53159713061991</c:v>
                </c:pt>
                <c:pt idx="84">
                  <c:v>112.79512459703243</c:v>
                </c:pt>
                <c:pt idx="85">
                  <c:v>113.05509361055732</c:v>
                </c:pt>
                <c:pt idx="86">
                  <c:v>113.31153277165993</c:v>
                </c:pt>
                <c:pt idx="87">
                  <c:v>113.56447049132838</c:v>
                </c:pt>
                <c:pt idx="88">
                  <c:v>113.81393499207466</c:v>
                </c:pt>
                <c:pt idx="89">
                  <c:v>114.05995430892872</c:v>
                </c:pt>
                <c:pt idx="90">
                  <c:v>114.30255629042105</c:v>
                </c:pt>
                <c:pt idx="91">
                  <c:v>114.54176859956242</c:v>
                </c:pt>
                <c:pt idx="92">
                  <c:v>114.77761871481358</c:v>
                </c:pt>
                <c:pt idx="93">
                  <c:v>115.01013393104603</c:v>
                </c:pt>
                <c:pt idx="94">
                  <c:v>115.23934136050005</c:v>
                </c:pt>
                <c:pt idx="95">
                  <c:v>115.4652679337302</c:v>
                </c:pt>
                <c:pt idx="96">
                  <c:v>115.68794040054804</c:v>
                </c:pt>
                <c:pt idx="97">
                  <c:v>115.90738533095349</c:v>
                </c:pt>
                <c:pt idx="98">
                  <c:v>116.12362911606348</c:v>
                </c:pt>
                <c:pt idx="99">
                  <c:v>116.33669796903222</c:v>
                </c:pt>
                <c:pt idx="100">
                  <c:v>116.54661792596161</c:v>
                </c:pt>
                <c:pt idx="101">
                  <c:v>116.75341484681087</c:v>
                </c:pt>
                <c:pt idx="102">
                  <c:v>116.95711441629346</c:v>
                </c:pt>
                <c:pt idx="103">
                  <c:v>117.15774214477241</c:v>
                </c:pt>
                <c:pt idx="104">
                  <c:v>117.35532336914711</c:v>
                </c:pt>
                <c:pt idx="105">
                  <c:v>117.5498832537325</c:v>
                </c:pt>
                <c:pt idx="106">
                  <c:v>117.74144679113571</c:v>
                </c:pt>
                <c:pt idx="107">
                  <c:v>117.9300388031238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9</c:f>
              <c:strCache>
                <c:ptCount val="108"/>
                <c:pt idx="0">
                  <c:v>25.99</c:v>
                </c:pt>
                <c:pt idx="1">
                  <c:v>26.09</c:v>
                </c:pt>
                <c:pt idx="2">
                  <c:v>26.19</c:v>
                </c:pt>
                <c:pt idx="3">
                  <c:v>26.29</c:v>
                </c:pt>
                <c:pt idx="4">
                  <c:v>26.39</c:v>
                </c:pt>
                <c:pt idx="5">
                  <c:v>26.49</c:v>
                </c:pt>
                <c:pt idx="6">
                  <c:v>26.59</c:v>
                </c:pt>
                <c:pt idx="7">
                  <c:v>26.69</c:v>
                </c:pt>
                <c:pt idx="8">
                  <c:v>26.79</c:v>
                </c:pt>
                <c:pt idx="9">
                  <c:v>26.89</c:v>
                </c:pt>
                <c:pt idx="10">
                  <c:v>26.99</c:v>
                </c:pt>
                <c:pt idx="11">
                  <c:v>27.09</c:v>
                </c:pt>
                <c:pt idx="12">
                  <c:v>27.19</c:v>
                </c:pt>
                <c:pt idx="13">
                  <c:v>27.29</c:v>
                </c:pt>
                <c:pt idx="14">
                  <c:v>27.39</c:v>
                </c:pt>
                <c:pt idx="15">
                  <c:v>27.49</c:v>
                </c:pt>
                <c:pt idx="16">
                  <c:v>27.59</c:v>
                </c:pt>
                <c:pt idx="17">
                  <c:v>27.69</c:v>
                </c:pt>
                <c:pt idx="18">
                  <c:v>27.79</c:v>
                </c:pt>
                <c:pt idx="19">
                  <c:v>27.89</c:v>
                </c:pt>
                <c:pt idx="20">
                  <c:v>27.99</c:v>
                </c:pt>
                <c:pt idx="21">
                  <c:v>28.09</c:v>
                </c:pt>
                <c:pt idx="22">
                  <c:v>28.19</c:v>
                </c:pt>
                <c:pt idx="23">
                  <c:v>28.29</c:v>
                </c:pt>
                <c:pt idx="24">
                  <c:v>28.39</c:v>
                </c:pt>
                <c:pt idx="25">
                  <c:v>28.49</c:v>
                </c:pt>
                <c:pt idx="26">
                  <c:v>28.59</c:v>
                </c:pt>
                <c:pt idx="27">
                  <c:v>28.69</c:v>
                </c:pt>
                <c:pt idx="28">
                  <c:v>28.79</c:v>
                </c:pt>
                <c:pt idx="29">
                  <c:v>28.89</c:v>
                </c:pt>
                <c:pt idx="30">
                  <c:v>28.99</c:v>
                </c:pt>
                <c:pt idx="31">
                  <c:v>29.09</c:v>
                </c:pt>
                <c:pt idx="32">
                  <c:v>29.19</c:v>
                </c:pt>
                <c:pt idx="33">
                  <c:v>29.29</c:v>
                </c:pt>
                <c:pt idx="34">
                  <c:v>29.39</c:v>
                </c:pt>
                <c:pt idx="35">
                  <c:v>29.49</c:v>
                </c:pt>
                <c:pt idx="36">
                  <c:v>29.59</c:v>
                </c:pt>
                <c:pt idx="37">
                  <c:v>29.69</c:v>
                </c:pt>
                <c:pt idx="38">
                  <c:v>29.79</c:v>
                </c:pt>
                <c:pt idx="39">
                  <c:v>29.89</c:v>
                </c:pt>
                <c:pt idx="40">
                  <c:v>29.99</c:v>
                </c:pt>
                <c:pt idx="41">
                  <c:v>30.09</c:v>
                </c:pt>
                <c:pt idx="42">
                  <c:v>30.19</c:v>
                </c:pt>
                <c:pt idx="43">
                  <c:v>30.29</c:v>
                </c:pt>
                <c:pt idx="44">
                  <c:v>30.39</c:v>
                </c:pt>
                <c:pt idx="45">
                  <c:v>30.49</c:v>
                </c:pt>
                <c:pt idx="46">
                  <c:v>30.59</c:v>
                </c:pt>
                <c:pt idx="47">
                  <c:v>30.69</c:v>
                </c:pt>
                <c:pt idx="48">
                  <c:v>30.79</c:v>
                </c:pt>
                <c:pt idx="49">
                  <c:v>30.89</c:v>
                </c:pt>
                <c:pt idx="50">
                  <c:v>30.99</c:v>
                </c:pt>
                <c:pt idx="51">
                  <c:v>31.09</c:v>
                </c:pt>
                <c:pt idx="52">
                  <c:v>31.19</c:v>
                </c:pt>
                <c:pt idx="53">
                  <c:v>31.29</c:v>
                </c:pt>
                <c:pt idx="54">
                  <c:v>31.39</c:v>
                </c:pt>
                <c:pt idx="55">
                  <c:v>31.49</c:v>
                </c:pt>
                <c:pt idx="56">
                  <c:v>31.59</c:v>
                </c:pt>
                <c:pt idx="57">
                  <c:v>31.69</c:v>
                </c:pt>
                <c:pt idx="58">
                  <c:v>31.79</c:v>
                </c:pt>
                <c:pt idx="59">
                  <c:v>31.89</c:v>
                </c:pt>
                <c:pt idx="60">
                  <c:v>31.99</c:v>
                </c:pt>
                <c:pt idx="61">
                  <c:v>32.09</c:v>
                </c:pt>
                <c:pt idx="62">
                  <c:v>32.19</c:v>
                </c:pt>
                <c:pt idx="63">
                  <c:v>32.29</c:v>
                </c:pt>
                <c:pt idx="64">
                  <c:v>32.39</c:v>
                </c:pt>
                <c:pt idx="65">
                  <c:v>32.49</c:v>
                </c:pt>
                <c:pt idx="66">
                  <c:v>32.59</c:v>
                </c:pt>
                <c:pt idx="67">
                  <c:v>32.69</c:v>
                </c:pt>
                <c:pt idx="68">
                  <c:v>32.79</c:v>
                </c:pt>
                <c:pt idx="69">
                  <c:v>32.89</c:v>
                </c:pt>
                <c:pt idx="70">
                  <c:v>32.99</c:v>
                </c:pt>
                <c:pt idx="71">
                  <c:v>33.09</c:v>
                </c:pt>
                <c:pt idx="72">
                  <c:v>33.19</c:v>
                </c:pt>
                <c:pt idx="73">
                  <c:v>33.29</c:v>
                </c:pt>
                <c:pt idx="74">
                  <c:v>33.39</c:v>
                </c:pt>
                <c:pt idx="75">
                  <c:v>33.49</c:v>
                </c:pt>
                <c:pt idx="76">
                  <c:v>33.59</c:v>
                </c:pt>
                <c:pt idx="77">
                  <c:v>33.69</c:v>
                </c:pt>
                <c:pt idx="78">
                  <c:v>33.79</c:v>
                </c:pt>
                <c:pt idx="79">
                  <c:v>33.89</c:v>
                </c:pt>
                <c:pt idx="80">
                  <c:v>33.99</c:v>
                </c:pt>
                <c:pt idx="81">
                  <c:v>34.09</c:v>
                </c:pt>
                <c:pt idx="82">
                  <c:v>34.19</c:v>
                </c:pt>
                <c:pt idx="83">
                  <c:v>34.29</c:v>
                </c:pt>
                <c:pt idx="84">
                  <c:v>34.39</c:v>
                </c:pt>
                <c:pt idx="85">
                  <c:v>34.49</c:v>
                </c:pt>
                <c:pt idx="86">
                  <c:v>34.59</c:v>
                </c:pt>
                <c:pt idx="87">
                  <c:v>34.69</c:v>
                </c:pt>
                <c:pt idx="88">
                  <c:v>34.79</c:v>
                </c:pt>
                <c:pt idx="89">
                  <c:v>34.89</c:v>
                </c:pt>
                <c:pt idx="90">
                  <c:v>34.99</c:v>
                </c:pt>
                <c:pt idx="91">
                  <c:v>35.09</c:v>
                </c:pt>
                <c:pt idx="92">
                  <c:v>35.19</c:v>
                </c:pt>
                <c:pt idx="93">
                  <c:v>35.29</c:v>
                </c:pt>
                <c:pt idx="94">
                  <c:v>35.39</c:v>
                </c:pt>
                <c:pt idx="95">
                  <c:v>35.49</c:v>
                </c:pt>
                <c:pt idx="96">
                  <c:v>35.59</c:v>
                </c:pt>
                <c:pt idx="97">
                  <c:v>35.69</c:v>
                </c:pt>
                <c:pt idx="98">
                  <c:v>35.79</c:v>
                </c:pt>
                <c:pt idx="99">
                  <c:v>35.89</c:v>
                </c:pt>
                <c:pt idx="100">
                  <c:v>35.99</c:v>
                </c:pt>
                <c:pt idx="101">
                  <c:v>36.09</c:v>
                </c:pt>
                <c:pt idx="102">
                  <c:v>36.19</c:v>
                </c:pt>
                <c:pt idx="103">
                  <c:v>36.29</c:v>
                </c:pt>
                <c:pt idx="104">
                  <c:v>36.39</c:v>
                </c:pt>
                <c:pt idx="105">
                  <c:v>36.49</c:v>
                </c:pt>
                <c:pt idx="106">
                  <c:v>36.59</c:v>
                </c:pt>
                <c:pt idx="107">
                  <c:v>36.69</c:v>
                </c:pt>
              </c:strCache>
            </c:strRef>
          </c:cat>
          <c:val>
            <c:numRef>
              <c:f>Sheet1!$E$2:$E$109</c:f>
              <c:numCache>
                <c:formatCode>General</c:formatCode>
                <c:ptCount val="108"/>
                <c:pt idx="0">
                  <c:v>0.29103088868545407</c:v>
                </c:pt>
                <c:pt idx="1">
                  <c:v>0.2937482865824053</c:v>
                </c:pt>
                <c:pt idx="2">
                  <c:v>0.2964449330635721</c:v>
                </c:pt>
                <c:pt idx="3">
                  <c:v>0.29912106492715684</c:v>
                </c:pt>
                <c:pt idx="4">
                  <c:v>0.3017769153821507</c:v>
                </c:pt>
                <c:pt idx="5">
                  <c:v>0.30441271411607956</c:v>
                </c:pt>
                <c:pt idx="6">
                  <c:v>0.30702868736122424</c:v>
                </c:pt>
                <c:pt idx="7">
                  <c:v>0.3096250579593463</c:v>
                </c:pt>
                <c:pt idx="8">
                  <c:v>0.31220204542497015</c:v>
                </c:pt>
                <c:pt idx="9">
                  <c:v>0.3147598660072501</c:v>
                </c:pt>
                <c:pt idx="10">
                  <c:v>0.31729873275046144</c:v>
                </c:pt>
                <c:pt idx="11">
                  <c:v>0.3198188555531545</c:v>
                </c:pt>
                <c:pt idx="12">
                  <c:v>0.3223204412260004</c:v>
                </c:pt>
                <c:pt idx="13">
                  <c:v>0.3248036935483677</c:v>
                </c:pt>
                <c:pt idx="14">
                  <c:v>0.32726881332365665</c:v>
                </c:pt>
                <c:pt idx="15">
                  <c:v>0.3297159984334288</c:v>
                </c:pt>
                <c:pt idx="16">
                  <c:v>0.33214544389035744</c:v>
                </c:pt>
                <c:pt idx="17">
                  <c:v>0.33455734189003067</c:v>
                </c:pt>
                <c:pt idx="18">
                  <c:v>0.3369518818616394</c:v>
                </c:pt>
                <c:pt idx="19">
                  <c:v>0.33932925051756746</c:v>
                </c:pt>
                <c:pt idx="20">
                  <c:v>0.34168963190192775</c:v>
                </c:pt>
                <c:pt idx="21">
                  <c:v>0.3440332074380547</c:v>
                </c:pt>
                <c:pt idx="22">
                  <c:v>0.3463601559749895</c:v>
                </c:pt>
                <c:pt idx="23">
                  <c:v>0.34867065383297824</c:v>
                </c:pt>
                <c:pt idx="24">
                  <c:v>0.35096487484800826</c:v>
                </c:pt>
                <c:pt idx="25">
                  <c:v>0.35324299041540735</c:v>
                </c:pt>
                <c:pt idx="26">
                  <c:v>0.35550516953252725</c:v>
                </c:pt>
                <c:pt idx="27">
                  <c:v>0.3577515788405352</c:v>
                </c:pt>
                <c:pt idx="28">
                  <c:v>0.3599823826653335</c:v>
                </c:pt>
                <c:pt idx="29">
                  <c:v>0.36219774305763086</c:v>
                </c:pt>
                <c:pt idx="30">
                  <c:v>0.364397819832182</c:v>
                </c:pt>
                <c:pt idx="31">
                  <c:v>0.36658277060622046</c:v>
                </c:pt>
                <c:pt idx="32">
                  <c:v>0.3687527508371002</c:v>
                </c:pt>
                <c:pt idx="33">
                  <c:v>0.37090791385916544</c:v>
                </c:pt>
                <c:pt idx="34">
                  <c:v>0.3730484109198692</c:v>
                </c:pt>
                <c:pt idx="35">
                  <c:v>0.37517439121515617</c:v>
                </c:pt>
                <c:pt idx="36">
                  <c:v>0.37728600192412814</c:v>
                </c:pt>
                <c:pt idx="37">
                  <c:v>0.37938338824300954</c:v>
                </c:pt>
                <c:pt idx="38">
                  <c:v>0.3814666934184274</c:v>
                </c:pt>
                <c:pt idx="39">
                  <c:v>0.38353605878002517</c:v>
                </c:pt>
                <c:pt idx="40">
                  <c:v>0.3855916237724226</c:v>
                </c:pt>
                <c:pt idx="41">
                  <c:v>0.3876335259865389</c:v>
                </c:pt>
                <c:pt idx="42">
                  <c:v>0.38966190119029326</c:v>
                </c:pt>
                <c:pt idx="43">
                  <c:v>0.3916768833586977</c:v>
                </c:pt>
                <c:pt idx="44">
                  <c:v>0.393678604703355</c:v>
                </c:pt>
                <c:pt idx="45">
                  <c:v>0.3956671957013759</c:v>
                </c:pt>
                <c:pt idx="46">
                  <c:v>0.39764278512373175</c:v>
                </c:pt>
                <c:pt idx="47">
                  <c:v>0.3996055000630483</c:v>
                </c:pt>
                <c:pt idx="48">
                  <c:v>0.40155546596086256</c:v>
                </c:pt>
                <c:pt idx="49">
                  <c:v>0.40349280663434633</c:v>
                </c:pt>
                <c:pt idx="50">
                  <c:v>0.4054176443025155</c:v>
                </c:pt>
                <c:pt idx="51">
                  <c:v>0.4073300996119318</c:v>
                </c:pt>
                <c:pt idx="52">
                  <c:v>0.4092302916619095</c:v>
                </c:pt>
                <c:pt idx="53">
                  <c:v>0.41111833802924114</c:v>
                </c:pt>
                <c:pt idx="54">
                  <c:v>0.4129943547924484</c:v>
                </c:pt>
                <c:pt idx="55">
                  <c:v>0.4148584565555718</c:v>
                </c:pt>
                <c:pt idx="56">
                  <c:v>0.41671075647150846</c:v>
                </c:pt>
                <c:pt idx="57">
                  <c:v>0.41855136626490863</c:v>
                </c:pt>
                <c:pt idx="58">
                  <c:v>0.42038039625463847</c:v>
                </c:pt>
                <c:pt idx="59">
                  <c:v>0.4221979553758216</c:v>
                </c:pt>
                <c:pt idx="60">
                  <c:v>0.4240041512014677</c:v>
                </c:pt>
                <c:pt idx="61">
                  <c:v>0.42579908996369453</c:v>
                </c:pt>
                <c:pt idx="62">
                  <c:v>0.4275828765745559</c:v>
                </c:pt>
                <c:pt idx="63">
                  <c:v>0.42935561464648353</c:v>
                </c:pt>
                <c:pt idx="64">
                  <c:v>0.43111740651234803</c:v>
                </c:pt>
                <c:pt idx="65">
                  <c:v>0.4328683532451511</c:v>
                </c:pt>
                <c:pt idx="66">
                  <c:v>0.4346085546773536</c:v>
                </c:pt>
                <c:pt idx="67">
                  <c:v>0.4363381094198517</c:v>
                </c:pt>
                <c:pt idx="68">
                  <c:v>0.4380571148806026</c:v>
                </c:pt>
                <c:pt idx="69">
                  <c:v>0.4397656672829114</c:v>
                </c:pt>
                <c:pt idx="70">
                  <c:v>0.4414638616833876</c:v>
                </c:pt>
                <c:pt idx="71">
                  <c:v>0.44315179198957255</c:v>
                </c:pt>
                <c:pt idx="72">
                  <c:v>0.4448295509772508</c:v>
                </c:pt>
                <c:pt idx="73">
                  <c:v>0.4464972303074482</c:v>
                </c:pt>
                <c:pt idx="74">
                  <c:v>0.4481549205431255</c:v>
                </c:pt>
                <c:pt idx="75">
                  <c:v>0.4498027111655705</c:v>
                </c:pt>
                <c:pt idx="76">
                  <c:v>0.45144069059050185</c:v>
                </c:pt>
                <c:pt idx="77">
                  <c:v>0.453068946183881</c:v>
                </c:pt>
                <c:pt idx="78">
                  <c:v>0.4546875642774476</c:v>
                </c:pt>
                <c:pt idx="79">
                  <c:v>0.4562966301839761</c:v>
                </c:pt>
                <c:pt idx="80">
                  <c:v>0.45789622821226694</c:v>
                </c:pt>
                <c:pt idx="81">
                  <c:v>0.4594864416818702</c:v>
                </c:pt>
                <c:pt idx="82">
                  <c:v>0.4610673529375535</c:v>
                </c:pt>
                <c:pt idx="83">
                  <c:v>0.4626390433635157</c:v>
                </c:pt>
                <c:pt idx="84">
                  <c:v>0.4642015933973526</c:v>
                </c:pt>
                <c:pt idx="85">
                  <c:v>0.46575508254377945</c:v>
                </c:pt>
                <c:pt idx="86">
                  <c:v>0.4672995893881166</c:v>
                </c:pt>
                <c:pt idx="87">
                  <c:v>0.46883519160954035</c:v>
                </c:pt>
                <c:pt idx="88">
                  <c:v>0.47036196599410635</c:v>
                </c:pt>
                <c:pt idx="89">
                  <c:v>0.4718799884475482</c:v>
                </c:pt>
                <c:pt idx="90">
                  <c:v>0.47338933400785815</c:v>
                </c:pt>
                <c:pt idx="91">
                  <c:v>0.47489007685765056</c:v>
                </c:pt>
                <c:pt idx="92">
                  <c:v>0.47638229033631574</c:v>
                </c:pt>
                <c:pt idx="93">
                  <c:v>0.4778660469519681</c:v>
                </c:pt>
                <c:pt idx="94">
                  <c:v>0.4793414183931888</c:v>
                </c:pt>
                <c:pt idx="95">
                  <c:v>0.48080847554057343</c:v>
                </c:pt>
                <c:pt idx="96">
                  <c:v>0.4822672884780824</c:v>
                </c:pt>
                <c:pt idx="97">
                  <c:v>0.48371792650420165</c:v>
                </c:pt>
                <c:pt idx="98">
                  <c:v>0.4851604581429159</c:v>
                </c:pt>
                <c:pt idx="99">
                  <c:v>0.4865949511544985</c:v>
                </c:pt>
                <c:pt idx="100">
                  <c:v>0.48802147254612255</c:v>
                </c:pt>
                <c:pt idx="101">
                  <c:v>0.4894400885822931</c:v>
                </c:pt>
                <c:pt idx="102">
                  <c:v>0.49085086479510787</c:v>
                </c:pt>
                <c:pt idx="103">
                  <c:v>0.4922538659943498</c:v>
                </c:pt>
                <c:pt idx="104">
                  <c:v>0.49364915627741013</c:v>
                </c:pt>
                <c:pt idx="105">
                  <c:v>0.49503679903905057</c:v>
                </c:pt>
                <c:pt idx="106">
                  <c:v>0.4964168569810046</c:v>
                </c:pt>
                <c:pt idx="107">
                  <c:v>0.4977893921214213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2</c:f>
              <c:strCache>
                <c:ptCount val="71"/>
                <c:pt idx="0">
                  <c:v>16.99</c:v>
                </c:pt>
                <c:pt idx="1">
                  <c:v>17.09</c:v>
                </c:pt>
                <c:pt idx="2">
                  <c:v>17.19</c:v>
                </c:pt>
                <c:pt idx="3">
                  <c:v>17.29</c:v>
                </c:pt>
                <c:pt idx="4">
                  <c:v>17.39</c:v>
                </c:pt>
                <c:pt idx="5">
                  <c:v>17.49</c:v>
                </c:pt>
                <c:pt idx="6">
                  <c:v>17.59</c:v>
                </c:pt>
                <c:pt idx="7">
                  <c:v>17.69</c:v>
                </c:pt>
                <c:pt idx="8">
                  <c:v>17.79</c:v>
                </c:pt>
                <c:pt idx="9">
                  <c:v>17.89</c:v>
                </c:pt>
                <c:pt idx="10">
                  <c:v>17.99</c:v>
                </c:pt>
                <c:pt idx="11">
                  <c:v>18.09</c:v>
                </c:pt>
                <c:pt idx="12">
                  <c:v>18.19</c:v>
                </c:pt>
                <c:pt idx="13">
                  <c:v>18.29</c:v>
                </c:pt>
                <c:pt idx="14">
                  <c:v>18.39</c:v>
                </c:pt>
                <c:pt idx="15">
                  <c:v>18.49</c:v>
                </c:pt>
                <c:pt idx="16">
                  <c:v>18.59</c:v>
                </c:pt>
                <c:pt idx="17">
                  <c:v>18.69</c:v>
                </c:pt>
                <c:pt idx="18">
                  <c:v>18.79</c:v>
                </c:pt>
                <c:pt idx="19">
                  <c:v>18.89</c:v>
                </c:pt>
                <c:pt idx="20">
                  <c:v>18.99</c:v>
                </c:pt>
                <c:pt idx="21">
                  <c:v>19.09</c:v>
                </c:pt>
                <c:pt idx="22">
                  <c:v>19.19</c:v>
                </c:pt>
                <c:pt idx="23">
                  <c:v>19.29</c:v>
                </c:pt>
                <c:pt idx="24">
                  <c:v>19.39</c:v>
                </c:pt>
                <c:pt idx="25">
                  <c:v>19.49</c:v>
                </c:pt>
                <c:pt idx="26">
                  <c:v>19.59</c:v>
                </c:pt>
                <c:pt idx="27">
                  <c:v>19.69</c:v>
                </c:pt>
                <c:pt idx="28">
                  <c:v>19.79</c:v>
                </c:pt>
                <c:pt idx="29">
                  <c:v>19.89</c:v>
                </c:pt>
                <c:pt idx="30">
                  <c:v>19.99</c:v>
                </c:pt>
                <c:pt idx="31">
                  <c:v>20.09</c:v>
                </c:pt>
                <c:pt idx="32">
                  <c:v>20.19</c:v>
                </c:pt>
                <c:pt idx="33">
                  <c:v>20.29</c:v>
                </c:pt>
                <c:pt idx="34">
                  <c:v>20.39</c:v>
                </c:pt>
                <c:pt idx="35">
                  <c:v>20.49</c:v>
                </c:pt>
                <c:pt idx="36">
                  <c:v>20.59</c:v>
                </c:pt>
                <c:pt idx="37">
                  <c:v>20.69</c:v>
                </c:pt>
                <c:pt idx="38">
                  <c:v>20.79</c:v>
                </c:pt>
                <c:pt idx="39">
                  <c:v>20.89</c:v>
                </c:pt>
                <c:pt idx="40">
                  <c:v>20.99</c:v>
                </c:pt>
                <c:pt idx="41">
                  <c:v>21.09</c:v>
                </c:pt>
                <c:pt idx="42">
                  <c:v>21.19</c:v>
                </c:pt>
                <c:pt idx="43">
                  <c:v>21.29</c:v>
                </c:pt>
                <c:pt idx="44">
                  <c:v>21.39</c:v>
                </c:pt>
                <c:pt idx="45">
                  <c:v>21.49</c:v>
                </c:pt>
                <c:pt idx="46">
                  <c:v>21.59</c:v>
                </c:pt>
                <c:pt idx="47">
                  <c:v>21.69</c:v>
                </c:pt>
                <c:pt idx="48">
                  <c:v>21.79</c:v>
                </c:pt>
                <c:pt idx="49">
                  <c:v>21.89</c:v>
                </c:pt>
                <c:pt idx="50">
                  <c:v>21.99</c:v>
                </c:pt>
                <c:pt idx="51">
                  <c:v>22.09</c:v>
                </c:pt>
                <c:pt idx="52">
                  <c:v>22.19</c:v>
                </c:pt>
                <c:pt idx="53">
                  <c:v>22.29</c:v>
                </c:pt>
                <c:pt idx="54">
                  <c:v>22.39</c:v>
                </c:pt>
                <c:pt idx="55">
                  <c:v>22.49</c:v>
                </c:pt>
                <c:pt idx="56">
                  <c:v>22.59</c:v>
                </c:pt>
                <c:pt idx="57">
                  <c:v>22.69</c:v>
                </c:pt>
                <c:pt idx="58">
                  <c:v>22.79</c:v>
                </c:pt>
                <c:pt idx="59">
                  <c:v>22.89</c:v>
                </c:pt>
                <c:pt idx="60">
                  <c:v>22.99</c:v>
                </c:pt>
                <c:pt idx="61">
                  <c:v>23.09</c:v>
                </c:pt>
                <c:pt idx="62">
                  <c:v>23.19</c:v>
                </c:pt>
                <c:pt idx="63">
                  <c:v>23.29</c:v>
                </c:pt>
                <c:pt idx="64">
                  <c:v>23.39</c:v>
                </c:pt>
                <c:pt idx="65">
                  <c:v>23.49</c:v>
                </c:pt>
                <c:pt idx="66">
                  <c:v>23.59</c:v>
                </c:pt>
                <c:pt idx="67">
                  <c:v>23.69</c:v>
                </c:pt>
                <c:pt idx="68">
                  <c:v>23.79</c:v>
                </c:pt>
                <c:pt idx="69">
                  <c:v>23.89</c:v>
                </c:pt>
                <c:pt idx="70">
                  <c:v>23.99</c:v>
                </c:pt>
              </c:strCache>
            </c:strRef>
          </c:cat>
          <c:val>
            <c:numRef>
              <c:f>Sheet1!$B$2:$B$72</c:f>
              <c:numCache>
                <c:formatCode>General</c:formatCode>
                <c:ptCount val="71"/>
                <c:pt idx="0">
                  <c:v>111.53376464829361</c:v>
                </c:pt>
                <c:pt idx="1">
                  <c:v>111.11858738467846</c:v>
                </c:pt>
                <c:pt idx="2">
                  <c:v>110.70566842372489</c:v>
                </c:pt>
                <c:pt idx="3">
                  <c:v>110.29499189139717</c:v>
                </c:pt>
                <c:pt idx="4">
                  <c:v>109.88654205372438</c:v>
                </c:pt>
                <c:pt idx="5">
                  <c:v>109.48030331535637</c:v>
                </c:pt>
                <c:pt idx="6">
                  <c:v>109.07626021813002</c:v>
                </c:pt>
                <c:pt idx="7">
                  <c:v>108.67439743964977</c:v>
                </c:pt>
                <c:pt idx="8">
                  <c:v>108.27469979188153</c:v>
                </c:pt>
                <c:pt idx="9">
                  <c:v>107.8771522197577</c:v>
                </c:pt>
                <c:pt idx="10">
                  <c:v>107.48173979979623</c:v>
                </c:pt>
                <c:pt idx="11">
                  <c:v>107.088447738734</c:v>
                </c:pt>
                <c:pt idx="12">
                  <c:v>106.69726137217003</c:v>
                </c:pt>
                <c:pt idx="13">
                  <c:v>106.30816616322589</c:v>
                </c:pt>
                <c:pt idx="14">
                  <c:v>105.92114770121526</c:v>
                </c:pt>
                <c:pt idx="15">
                  <c:v>105.53619170032798</c:v>
                </c:pt>
                <c:pt idx="16">
                  <c:v>105.15328399832926</c:v>
                </c:pt>
                <c:pt idx="17">
                  <c:v>104.77241055526893</c:v>
                </c:pt>
                <c:pt idx="18">
                  <c:v>104.39355745220426</c:v>
                </c:pt>
                <c:pt idx="19">
                  <c:v>104.01671088993751</c:v>
                </c:pt>
                <c:pt idx="20">
                  <c:v>103.64185718776471</c:v>
                </c:pt>
                <c:pt idx="21">
                  <c:v>103.26898278223796</c:v>
                </c:pt>
                <c:pt idx="22">
                  <c:v>102.89807422594082</c:v>
                </c:pt>
                <c:pt idx="23">
                  <c:v>102.52911818627564</c:v>
                </c:pt>
                <c:pt idx="24">
                  <c:v>102.162101444265</c:v>
                </c:pt>
                <c:pt idx="25">
                  <c:v>101.79701089336521</c:v>
                </c:pt>
                <c:pt idx="26">
                  <c:v>101.43383353829245</c:v>
                </c:pt>
                <c:pt idx="27">
                  <c:v>101.07255649386069</c:v>
                </c:pt>
                <c:pt idx="28">
                  <c:v>100.71316698383461</c:v>
                </c:pt>
                <c:pt idx="29">
                  <c:v>100.35565233979189</c:v>
                </c:pt>
                <c:pt idx="30">
                  <c:v>100.0</c:v>
                </c:pt>
                <c:pt idx="31">
                  <c:v>99.69556825857403</c:v>
                </c:pt>
                <c:pt idx="32">
                  <c:v>99.39236089127884</c:v>
                </c:pt>
                <c:pt idx="33">
                  <c:v>99.09037200227641</c:v>
                </c:pt>
                <c:pt idx="34">
                  <c:v>98.78959572808515</c:v>
                </c:pt>
                <c:pt idx="35">
                  <c:v>98.4900262373762</c:v>
                </c:pt>
                <c:pt idx="36">
                  <c:v>98.1916577307731</c:v>
                </c:pt>
                <c:pt idx="37">
                  <c:v>97.89448444065275</c:v>
                </c:pt>
                <c:pt idx="38">
                  <c:v>97.59850063094675</c:v>
                </c:pt>
                <c:pt idx="39">
                  <c:v>97.30370059694505</c:v>
                </c:pt>
                <c:pt idx="40">
                  <c:v>97.01007866510001</c:v>
                </c:pt>
                <c:pt idx="41">
                  <c:v>96.71762919283385</c:v>
                </c:pt>
                <c:pt idx="42">
                  <c:v>96.42634656834423</c:v>
                </c:pt>
                <c:pt idx="43">
                  <c:v>96.13622521041549</c:v>
                </c:pt>
                <c:pt idx="44">
                  <c:v>95.84725956822611</c:v>
                </c:pt>
                <c:pt idx="45">
                  <c:v>95.55944412116311</c:v>
                </c:pt>
                <c:pt idx="46">
                  <c:v>95.27277337863275</c:v>
                </c:pt>
                <c:pt idx="47">
                  <c:v>94.98724187987551</c:v>
                </c:pt>
                <c:pt idx="48">
                  <c:v>94.70284419378252</c:v>
                </c:pt>
                <c:pt idx="49">
                  <c:v>94.4195749187105</c:v>
                </c:pt>
                <c:pt idx="50">
                  <c:v>94.13742868230156</c:v>
                </c:pt>
                <c:pt idx="51">
                  <c:v>93.85640014130196</c:v>
                </c:pt>
                <c:pt idx="52">
                  <c:v>93.5764839813836</c:v>
                </c:pt>
                <c:pt idx="53">
                  <c:v>93.297674916964</c:v>
                </c:pt>
                <c:pt idx="54">
                  <c:v>93.01996769103218</c:v>
                </c:pt>
                <c:pt idx="55">
                  <c:v>92.74335707497092</c:v>
                </c:pt>
                <c:pt idx="56">
                  <c:v>92.46783786838388</c:v>
                </c:pt>
                <c:pt idx="57">
                  <c:v>92.19340489892261</c:v>
                </c:pt>
                <c:pt idx="58">
                  <c:v>91.92005302211227</c:v>
                </c:pt>
                <c:pt idx="59">
                  <c:v>91.6477771211856</c:v>
                </c:pt>
                <c:pt idx="60">
                  <c:v>91.37657210690855</c:v>
                </c:pt>
                <c:pt idx="61">
                  <c:v>91.10643291741575</c:v>
                </c:pt>
                <c:pt idx="62">
                  <c:v>90.83735451804199</c:v>
                </c:pt>
                <c:pt idx="63">
                  <c:v>90.56933190115572</c:v>
                </c:pt>
                <c:pt idx="64">
                  <c:v>90.30236008599576</c:v>
                </c:pt>
                <c:pt idx="65">
                  <c:v>90.03643411850688</c:v>
                </c:pt>
                <c:pt idx="66">
                  <c:v>89.77154907117757</c:v>
                </c:pt>
                <c:pt idx="67">
                  <c:v>89.50770004287901</c:v>
                </c:pt>
                <c:pt idx="68">
                  <c:v>89.24488215870434</c:v>
                </c:pt>
                <c:pt idx="69">
                  <c:v>88.98309056981017</c:v>
                </c:pt>
                <c:pt idx="70">
                  <c:v>88.7223204532595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2</c:f>
              <c:strCache>
                <c:ptCount val="71"/>
                <c:pt idx="0">
                  <c:v>16.99</c:v>
                </c:pt>
                <c:pt idx="1">
                  <c:v>17.09</c:v>
                </c:pt>
                <c:pt idx="2">
                  <c:v>17.19</c:v>
                </c:pt>
                <c:pt idx="3">
                  <c:v>17.29</c:v>
                </c:pt>
                <c:pt idx="4">
                  <c:v>17.39</c:v>
                </c:pt>
                <c:pt idx="5">
                  <c:v>17.49</c:v>
                </c:pt>
                <c:pt idx="6">
                  <c:v>17.59</c:v>
                </c:pt>
                <c:pt idx="7">
                  <c:v>17.69</c:v>
                </c:pt>
                <c:pt idx="8">
                  <c:v>17.79</c:v>
                </c:pt>
                <c:pt idx="9">
                  <c:v>17.89</c:v>
                </c:pt>
                <c:pt idx="10">
                  <c:v>17.99</c:v>
                </c:pt>
                <c:pt idx="11">
                  <c:v>18.09</c:v>
                </c:pt>
                <c:pt idx="12">
                  <c:v>18.19</c:v>
                </c:pt>
                <c:pt idx="13">
                  <c:v>18.29</c:v>
                </c:pt>
                <c:pt idx="14">
                  <c:v>18.39</c:v>
                </c:pt>
                <c:pt idx="15">
                  <c:v>18.49</c:v>
                </c:pt>
                <c:pt idx="16">
                  <c:v>18.59</c:v>
                </c:pt>
                <c:pt idx="17">
                  <c:v>18.69</c:v>
                </c:pt>
                <c:pt idx="18">
                  <c:v>18.79</c:v>
                </c:pt>
                <c:pt idx="19">
                  <c:v>18.89</c:v>
                </c:pt>
                <c:pt idx="20">
                  <c:v>18.99</c:v>
                </c:pt>
                <c:pt idx="21">
                  <c:v>19.09</c:v>
                </c:pt>
                <c:pt idx="22">
                  <c:v>19.19</c:v>
                </c:pt>
                <c:pt idx="23">
                  <c:v>19.29</c:v>
                </c:pt>
                <c:pt idx="24">
                  <c:v>19.39</c:v>
                </c:pt>
                <c:pt idx="25">
                  <c:v>19.49</c:v>
                </c:pt>
                <c:pt idx="26">
                  <c:v>19.59</c:v>
                </c:pt>
                <c:pt idx="27">
                  <c:v>19.69</c:v>
                </c:pt>
                <c:pt idx="28">
                  <c:v>19.79</c:v>
                </c:pt>
                <c:pt idx="29">
                  <c:v>19.89</c:v>
                </c:pt>
                <c:pt idx="30">
                  <c:v>19.99</c:v>
                </c:pt>
                <c:pt idx="31">
                  <c:v>20.09</c:v>
                </c:pt>
                <c:pt idx="32">
                  <c:v>20.19</c:v>
                </c:pt>
                <c:pt idx="33">
                  <c:v>20.29</c:v>
                </c:pt>
                <c:pt idx="34">
                  <c:v>20.39</c:v>
                </c:pt>
                <c:pt idx="35">
                  <c:v>20.49</c:v>
                </c:pt>
                <c:pt idx="36">
                  <c:v>20.59</c:v>
                </c:pt>
                <c:pt idx="37">
                  <c:v>20.69</c:v>
                </c:pt>
                <c:pt idx="38">
                  <c:v>20.79</c:v>
                </c:pt>
                <c:pt idx="39">
                  <c:v>20.89</c:v>
                </c:pt>
                <c:pt idx="40">
                  <c:v>20.99</c:v>
                </c:pt>
                <c:pt idx="41">
                  <c:v>21.09</c:v>
                </c:pt>
                <c:pt idx="42">
                  <c:v>21.19</c:v>
                </c:pt>
                <c:pt idx="43">
                  <c:v>21.29</c:v>
                </c:pt>
                <c:pt idx="44">
                  <c:v>21.39</c:v>
                </c:pt>
                <c:pt idx="45">
                  <c:v>21.49</c:v>
                </c:pt>
                <c:pt idx="46">
                  <c:v>21.59</c:v>
                </c:pt>
                <c:pt idx="47">
                  <c:v>21.69</c:v>
                </c:pt>
                <c:pt idx="48">
                  <c:v>21.79</c:v>
                </c:pt>
                <c:pt idx="49">
                  <c:v>21.89</c:v>
                </c:pt>
                <c:pt idx="50">
                  <c:v>21.99</c:v>
                </c:pt>
                <c:pt idx="51">
                  <c:v>22.09</c:v>
                </c:pt>
                <c:pt idx="52">
                  <c:v>22.19</c:v>
                </c:pt>
                <c:pt idx="53">
                  <c:v>22.29</c:v>
                </c:pt>
                <c:pt idx="54">
                  <c:v>22.39</c:v>
                </c:pt>
                <c:pt idx="55">
                  <c:v>22.49</c:v>
                </c:pt>
                <c:pt idx="56">
                  <c:v>22.59</c:v>
                </c:pt>
                <c:pt idx="57">
                  <c:v>22.69</c:v>
                </c:pt>
                <c:pt idx="58">
                  <c:v>22.79</c:v>
                </c:pt>
                <c:pt idx="59">
                  <c:v>22.89</c:v>
                </c:pt>
                <c:pt idx="60">
                  <c:v>22.99</c:v>
                </c:pt>
                <c:pt idx="61">
                  <c:v>23.09</c:v>
                </c:pt>
                <c:pt idx="62">
                  <c:v>23.19</c:v>
                </c:pt>
                <c:pt idx="63">
                  <c:v>23.29</c:v>
                </c:pt>
                <c:pt idx="64">
                  <c:v>23.39</c:v>
                </c:pt>
                <c:pt idx="65">
                  <c:v>23.49</c:v>
                </c:pt>
                <c:pt idx="66">
                  <c:v>23.59</c:v>
                </c:pt>
                <c:pt idx="67">
                  <c:v>23.69</c:v>
                </c:pt>
                <c:pt idx="68">
                  <c:v>23.79</c:v>
                </c:pt>
                <c:pt idx="69">
                  <c:v>23.89</c:v>
                </c:pt>
                <c:pt idx="70">
                  <c:v>23.99</c:v>
                </c:pt>
              </c:strCache>
            </c:strRef>
          </c:cat>
          <c:val>
            <c:numRef>
              <c:f>Sheet1!$C$2:$C$72</c:f>
              <c:numCache>
                <c:formatCode>General</c:formatCode>
                <c:ptCount val="71"/>
                <c:pt idx="0">
                  <c:v>95.01670308334623</c:v>
                </c:pt>
                <c:pt idx="1">
                  <c:v>95.21180801711681</c:v>
                </c:pt>
                <c:pt idx="2">
                  <c:v>95.40473362106063</c:v>
                </c:pt>
                <c:pt idx="3">
                  <c:v>95.5955004909686</c:v>
                </c:pt>
                <c:pt idx="4">
                  <c:v>95.78412901056898</c:v>
                </c:pt>
                <c:pt idx="5">
                  <c:v>95.97063935414305</c:v>
                </c:pt>
                <c:pt idx="6">
                  <c:v>96.15505148909844</c:v>
                </c:pt>
                <c:pt idx="7">
                  <c:v>96.337385178504</c:v>
                </c:pt>
                <c:pt idx="8">
                  <c:v>96.51765998358647</c:v>
                </c:pt>
                <c:pt idx="9">
                  <c:v>96.69589526618694</c:v>
                </c:pt>
                <c:pt idx="10">
                  <c:v>96.87211019118158</c:v>
                </c:pt>
                <c:pt idx="11">
                  <c:v>97.04632372886509</c:v>
                </c:pt>
                <c:pt idx="12">
                  <c:v>97.21855465729638</c:v>
                </c:pt>
                <c:pt idx="13">
                  <c:v>97.38882156461173</c:v>
                </c:pt>
                <c:pt idx="14">
                  <c:v>97.55714285129949</c:v>
                </c:pt>
                <c:pt idx="15">
                  <c:v>97.72353673244176</c:v>
                </c:pt>
                <c:pt idx="16">
                  <c:v>97.88802123992369</c:v>
                </c:pt>
                <c:pt idx="17">
                  <c:v>98.05061422460761</c:v>
                </c:pt>
                <c:pt idx="18">
                  <c:v>98.21133335847429</c:v>
                </c:pt>
                <c:pt idx="19">
                  <c:v>98.3701961367341</c:v>
                </c:pt>
                <c:pt idx="20">
                  <c:v>98.52721987990525</c:v>
                </c:pt>
                <c:pt idx="21">
                  <c:v>98.68242173586047</c:v>
                </c:pt>
                <c:pt idx="22">
                  <c:v>98.83581868184503</c:v>
                </c:pt>
                <c:pt idx="23">
                  <c:v>98.98742752646295</c:v>
                </c:pt>
                <c:pt idx="24">
                  <c:v>99.1372649116354</c:v>
                </c:pt>
                <c:pt idx="25">
                  <c:v>99.2853473145292</c:v>
                </c:pt>
                <c:pt idx="26">
                  <c:v>99.43169104945794</c:v>
                </c:pt>
                <c:pt idx="27">
                  <c:v>99.57631226975293</c:v>
                </c:pt>
                <c:pt idx="28">
                  <c:v>99.71922696961053</c:v>
                </c:pt>
                <c:pt idx="29">
                  <c:v>99.86045098590888</c:v>
                </c:pt>
                <c:pt idx="30">
                  <c:v>100.0</c:v>
                </c:pt>
                <c:pt idx="31">
                  <c:v>100.18678870325436</c:v>
                </c:pt>
                <c:pt idx="32">
                  <c:v>100.37179584608027</c:v>
                </c:pt>
                <c:pt idx="33">
                  <c:v>100.55503416324285</c:v>
                </c:pt>
                <c:pt idx="34">
                  <c:v>100.73651629472988</c:v>
                </c:pt>
                <c:pt idx="35">
                  <c:v>100.91625478652246</c:v>
                </c:pt>
                <c:pt idx="36">
                  <c:v>101.09426209136132</c:v>
                </c:pt>
                <c:pt idx="37">
                  <c:v>101.27055056950576</c:v>
                </c:pt>
                <c:pt idx="38">
                  <c:v>101.4451324894844</c:v>
                </c:pt>
                <c:pt idx="39">
                  <c:v>101.61802002883924</c:v>
                </c:pt>
                <c:pt idx="40">
                  <c:v>101.78922527486279</c:v>
                </c:pt>
                <c:pt idx="41">
                  <c:v>101.9587602253296</c:v>
                </c:pt>
                <c:pt idx="42">
                  <c:v>102.12663678921817</c:v>
                </c:pt>
                <c:pt idx="43">
                  <c:v>102.29286678742994</c:v>
                </c:pt>
                <c:pt idx="44">
                  <c:v>102.45746195349734</c:v>
                </c:pt>
                <c:pt idx="45">
                  <c:v>102.62043393428984</c:v>
                </c:pt>
                <c:pt idx="46">
                  <c:v>102.78179429070934</c:v>
                </c:pt>
                <c:pt idx="47">
                  <c:v>102.94155449838154</c:v>
                </c:pt>
                <c:pt idx="48">
                  <c:v>103.09972594834153</c:v>
                </c:pt>
                <c:pt idx="49">
                  <c:v>103.25631994770967</c:v>
                </c:pt>
                <c:pt idx="50">
                  <c:v>103.41134772036578</c:v>
                </c:pt>
                <c:pt idx="51">
                  <c:v>103.56482040761377</c:v>
                </c:pt>
                <c:pt idx="52">
                  <c:v>103.71674906884236</c:v>
                </c:pt>
                <c:pt idx="53">
                  <c:v>103.8671446821767</c:v>
                </c:pt>
                <c:pt idx="54">
                  <c:v>104.01601814512902</c:v>
                </c:pt>
                <c:pt idx="55">
                  <c:v>104.16338027523781</c:v>
                </c:pt>
                <c:pt idx="56">
                  <c:v>104.3092418107062</c:v>
                </c:pt>
                <c:pt idx="57">
                  <c:v>104.45361341103107</c:v>
                </c:pt>
                <c:pt idx="58">
                  <c:v>104.59650565762584</c:v>
                </c:pt>
                <c:pt idx="59">
                  <c:v>104.73792905444412</c:v>
                </c:pt>
                <c:pt idx="60">
                  <c:v>104.87789402858803</c:v>
                </c:pt>
                <c:pt idx="61">
                  <c:v>105.01641093091945</c:v>
                </c:pt>
                <c:pt idx="62">
                  <c:v>105.1534900366611</c:v>
                </c:pt>
                <c:pt idx="63">
                  <c:v>105.28914154599288</c:v>
                </c:pt>
                <c:pt idx="64">
                  <c:v>105.42337558464521</c:v>
                </c:pt>
                <c:pt idx="65">
                  <c:v>105.55620220448377</c:v>
                </c:pt>
                <c:pt idx="66">
                  <c:v>105.68763138409139</c:v>
                </c:pt>
                <c:pt idx="67">
                  <c:v>105.8176730293441</c:v>
                </c:pt>
                <c:pt idx="68">
                  <c:v>105.9463369739809</c:v>
                </c:pt>
                <c:pt idx="69">
                  <c:v>106.0736329801705</c:v>
                </c:pt>
                <c:pt idx="70">
                  <c:v>106.199570739072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2</c:f>
              <c:strCache>
                <c:ptCount val="71"/>
                <c:pt idx="0">
                  <c:v>16.99</c:v>
                </c:pt>
                <c:pt idx="1">
                  <c:v>17.09</c:v>
                </c:pt>
                <c:pt idx="2">
                  <c:v>17.19</c:v>
                </c:pt>
                <c:pt idx="3">
                  <c:v>17.29</c:v>
                </c:pt>
                <c:pt idx="4">
                  <c:v>17.39</c:v>
                </c:pt>
                <c:pt idx="5">
                  <c:v>17.49</c:v>
                </c:pt>
                <c:pt idx="6">
                  <c:v>17.59</c:v>
                </c:pt>
                <c:pt idx="7">
                  <c:v>17.69</c:v>
                </c:pt>
                <c:pt idx="8">
                  <c:v>17.79</c:v>
                </c:pt>
                <c:pt idx="9">
                  <c:v>17.89</c:v>
                </c:pt>
                <c:pt idx="10">
                  <c:v>17.99</c:v>
                </c:pt>
                <c:pt idx="11">
                  <c:v>18.09</c:v>
                </c:pt>
                <c:pt idx="12">
                  <c:v>18.19</c:v>
                </c:pt>
                <c:pt idx="13">
                  <c:v>18.29</c:v>
                </c:pt>
                <c:pt idx="14">
                  <c:v>18.39</c:v>
                </c:pt>
                <c:pt idx="15">
                  <c:v>18.49</c:v>
                </c:pt>
                <c:pt idx="16">
                  <c:v>18.59</c:v>
                </c:pt>
                <c:pt idx="17">
                  <c:v>18.69</c:v>
                </c:pt>
                <c:pt idx="18">
                  <c:v>18.79</c:v>
                </c:pt>
                <c:pt idx="19">
                  <c:v>18.89</c:v>
                </c:pt>
                <c:pt idx="20">
                  <c:v>18.99</c:v>
                </c:pt>
                <c:pt idx="21">
                  <c:v>19.09</c:v>
                </c:pt>
                <c:pt idx="22">
                  <c:v>19.19</c:v>
                </c:pt>
                <c:pt idx="23">
                  <c:v>19.29</c:v>
                </c:pt>
                <c:pt idx="24">
                  <c:v>19.39</c:v>
                </c:pt>
                <c:pt idx="25">
                  <c:v>19.49</c:v>
                </c:pt>
                <c:pt idx="26">
                  <c:v>19.59</c:v>
                </c:pt>
                <c:pt idx="27">
                  <c:v>19.69</c:v>
                </c:pt>
                <c:pt idx="28">
                  <c:v>19.79</c:v>
                </c:pt>
                <c:pt idx="29">
                  <c:v>19.89</c:v>
                </c:pt>
                <c:pt idx="30">
                  <c:v>19.99</c:v>
                </c:pt>
                <c:pt idx="31">
                  <c:v>20.09</c:v>
                </c:pt>
                <c:pt idx="32">
                  <c:v>20.19</c:v>
                </c:pt>
                <c:pt idx="33">
                  <c:v>20.29</c:v>
                </c:pt>
                <c:pt idx="34">
                  <c:v>20.39</c:v>
                </c:pt>
                <c:pt idx="35">
                  <c:v>20.49</c:v>
                </c:pt>
                <c:pt idx="36">
                  <c:v>20.59</c:v>
                </c:pt>
                <c:pt idx="37">
                  <c:v>20.69</c:v>
                </c:pt>
                <c:pt idx="38">
                  <c:v>20.79</c:v>
                </c:pt>
                <c:pt idx="39">
                  <c:v>20.89</c:v>
                </c:pt>
                <c:pt idx="40">
                  <c:v>20.99</c:v>
                </c:pt>
                <c:pt idx="41">
                  <c:v>21.09</c:v>
                </c:pt>
                <c:pt idx="42">
                  <c:v>21.19</c:v>
                </c:pt>
                <c:pt idx="43">
                  <c:v>21.29</c:v>
                </c:pt>
                <c:pt idx="44">
                  <c:v>21.39</c:v>
                </c:pt>
                <c:pt idx="45">
                  <c:v>21.49</c:v>
                </c:pt>
                <c:pt idx="46">
                  <c:v>21.59</c:v>
                </c:pt>
                <c:pt idx="47">
                  <c:v>21.69</c:v>
                </c:pt>
                <c:pt idx="48">
                  <c:v>21.79</c:v>
                </c:pt>
                <c:pt idx="49">
                  <c:v>21.89</c:v>
                </c:pt>
                <c:pt idx="50">
                  <c:v>21.99</c:v>
                </c:pt>
                <c:pt idx="51">
                  <c:v>22.09</c:v>
                </c:pt>
                <c:pt idx="52">
                  <c:v>22.19</c:v>
                </c:pt>
                <c:pt idx="53">
                  <c:v>22.29</c:v>
                </c:pt>
                <c:pt idx="54">
                  <c:v>22.39</c:v>
                </c:pt>
                <c:pt idx="55">
                  <c:v>22.49</c:v>
                </c:pt>
                <c:pt idx="56">
                  <c:v>22.59</c:v>
                </c:pt>
                <c:pt idx="57">
                  <c:v>22.69</c:v>
                </c:pt>
                <c:pt idx="58">
                  <c:v>22.79</c:v>
                </c:pt>
                <c:pt idx="59">
                  <c:v>22.89</c:v>
                </c:pt>
                <c:pt idx="60">
                  <c:v>22.99</c:v>
                </c:pt>
                <c:pt idx="61">
                  <c:v>23.09</c:v>
                </c:pt>
                <c:pt idx="62">
                  <c:v>23.19</c:v>
                </c:pt>
                <c:pt idx="63">
                  <c:v>23.29</c:v>
                </c:pt>
                <c:pt idx="64">
                  <c:v>23.39</c:v>
                </c:pt>
                <c:pt idx="65">
                  <c:v>23.49</c:v>
                </c:pt>
                <c:pt idx="66">
                  <c:v>23.59</c:v>
                </c:pt>
                <c:pt idx="67">
                  <c:v>23.69</c:v>
                </c:pt>
                <c:pt idx="68">
                  <c:v>23.79</c:v>
                </c:pt>
                <c:pt idx="69">
                  <c:v>23.89</c:v>
                </c:pt>
                <c:pt idx="70">
                  <c:v>23.99</c:v>
                </c:pt>
              </c:strCache>
            </c:strRef>
          </c:cat>
          <c:val>
            <c:numRef>
              <c:f>Sheet1!$D$2:$D$72</c:f>
              <c:numCache>
                <c:formatCode>General</c:formatCode>
                <c:ptCount val="71"/>
                <c:pt idx="0">
                  <c:v>52.945257351724685</c:v>
                </c:pt>
                <c:pt idx="1">
                  <c:v>54.69463103207259</c:v>
                </c:pt>
                <c:pt idx="2">
                  <c:v>56.430553009022724</c:v>
                </c:pt>
                <c:pt idx="3">
                  <c:v>58.153134690803924</c:v>
                </c:pt>
                <c:pt idx="4">
                  <c:v>59.86248643169789</c:v>
                </c:pt>
                <c:pt idx="5">
                  <c:v>61.558717543792184</c:v>
                </c:pt>
                <c:pt idx="6">
                  <c:v>63.2419363085799</c:v>
                </c:pt>
                <c:pt idx="7">
                  <c:v>64.91224998841435</c:v>
                </c:pt>
                <c:pt idx="8">
                  <c:v>66.5697648378165</c:v>
                </c:pt>
                <c:pt idx="9">
                  <c:v>68.21458611463677</c:v>
                </c:pt>
                <c:pt idx="10">
                  <c:v>69.84681809107656</c:v>
                </c:pt>
                <c:pt idx="11">
                  <c:v>71.46656406456543</c:v>
                </c:pt>
                <c:pt idx="12">
                  <c:v>73.07392636850095</c:v>
                </c:pt>
                <c:pt idx="13">
                  <c:v>74.6690063828509</c:v>
                </c:pt>
                <c:pt idx="14">
                  <c:v>76.25190454461787</c:v>
                </c:pt>
                <c:pt idx="15">
                  <c:v>77.82272035817066</c:v>
                </c:pt>
                <c:pt idx="16">
                  <c:v>79.38155240544225</c:v>
                </c:pt>
                <c:pt idx="17">
                  <c:v>80.92849835599789</c:v>
                </c:pt>
                <c:pt idx="18">
                  <c:v>82.46365497697184</c:v>
                </c:pt>
                <c:pt idx="19">
                  <c:v>83.98711814287843</c:v>
                </c:pt>
                <c:pt idx="20">
                  <c:v>85.4989828452956</c:v>
                </c:pt>
                <c:pt idx="21">
                  <c:v>86.99934320242471</c:v>
                </c:pt>
                <c:pt idx="22">
                  <c:v>88.48829246852681</c:v>
                </c:pt>
                <c:pt idx="23">
                  <c:v>89.96592304323838</c:v>
                </c:pt>
                <c:pt idx="24">
                  <c:v>91.43232648076666</c:v>
                </c:pt>
                <c:pt idx="25">
                  <c:v>92.88759349896856</c:v>
                </c:pt>
                <c:pt idx="26">
                  <c:v>94.33181398831064</c:v>
                </c:pt>
                <c:pt idx="27">
                  <c:v>95.76507702071594</c:v>
                </c:pt>
                <c:pt idx="28">
                  <c:v>97.18747085829719</c:v>
                </c:pt>
                <c:pt idx="29">
                  <c:v>98.59908296197717</c:v>
                </c:pt>
                <c:pt idx="30">
                  <c:v>100.0</c:v>
                </c:pt>
                <c:pt idx="31">
                  <c:v>101.44069735602194</c:v>
                </c:pt>
                <c:pt idx="32">
                  <c:v>102.87196667931954</c:v>
                </c:pt>
                <c:pt idx="33">
                  <c:v>104.29386663889575</c:v>
                </c:pt>
                <c:pt idx="34">
                  <c:v>105.70645551832496</c:v>
                </c:pt>
                <c:pt idx="35">
                  <c:v>107.10979121844957</c:v>
                </c:pt>
                <c:pt idx="36">
                  <c:v>108.5039312600597</c:v>
                </c:pt>
                <c:pt idx="37">
                  <c:v>109.88893278655092</c:v>
                </c:pt>
                <c:pt idx="38">
                  <c:v>111.26485256656211</c:v>
                </c:pt>
                <c:pt idx="39">
                  <c:v>112.6317469965915</c:v>
                </c:pt>
                <c:pt idx="40">
                  <c:v>113.98967210359415</c:v>
                </c:pt>
                <c:pt idx="41">
                  <c:v>115.33868354756078</c:v>
                </c:pt>
                <c:pt idx="42">
                  <c:v>116.67883662407283</c:v>
                </c:pt>
                <c:pt idx="43">
                  <c:v>118.01018626684356</c:v>
                </c:pt>
                <c:pt idx="44">
                  <c:v>119.33278705023336</c:v>
                </c:pt>
                <c:pt idx="45">
                  <c:v>120.64669319175319</c:v>
                </c:pt>
                <c:pt idx="46">
                  <c:v>121.95195855454219</c:v>
                </c:pt>
                <c:pt idx="47">
                  <c:v>123.24863664983008</c:v>
                </c:pt>
                <c:pt idx="48">
                  <c:v>124.5367806393822</c:v>
                </c:pt>
                <c:pt idx="49">
                  <c:v>125.81644333792032</c:v>
                </c:pt>
                <c:pt idx="50">
                  <c:v>127.08767721553195</c:v>
                </c:pt>
                <c:pt idx="51">
                  <c:v>128.35053440005657</c:v>
                </c:pt>
                <c:pt idx="52">
                  <c:v>129.6050666794571</c:v>
                </c:pt>
                <c:pt idx="53">
                  <c:v>130.85132550416873</c:v>
                </c:pt>
                <c:pt idx="54">
                  <c:v>132.08936198943704</c:v>
                </c:pt>
                <c:pt idx="55">
                  <c:v>133.3192269176307</c:v>
                </c:pt>
                <c:pt idx="56">
                  <c:v>134.5409707405437</c:v>
                </c:pt>
                <c:pt idx="57">
                  <c:v>135.75464358167616</c:v>
                </c:pt>
                <c:pt idx="58">
                  <c:v>136.960295238496</c:v>
                </c:pt>
                <c:pt idx="59">
                  <c:v>138.1579751846927</c:v>
                </c:pt>
                <c:pt idx="60">
                  <c:v>139.34773257240124</c:v>
                </c:pt>
                <c:pt idx="61">
                  <c:v>140.52961623442158</c:v>
                </c:pt>
                <c:pt idx="62">
                  <c:v>141.70367468641325</c:v>
                </c:pt>
                <c:pt idx="63">
                  <c:v>142.86995612907586</c:v>
                </c:pt>
                <c:pt idx="64">
                  <c:v>144.02850845031577</c:v>
                </c:pt>
                <c:pt idx="65">
                  <c:v>145.17937922739324</c:v>
                </c:pt>
                <c:pt idx="66">
                  <c:v>146.32261572905472</c:v>
                </c:pt>
                <c:pt idx="67">
                  <c:v>147.45826491765047</c:v>
                </c:pt>
                <c:pt idx="68">
                  <c:v>148.58637345123364</c:v>
                </c:pt>
                <c:pt idx="69">
                  <c:v>149.7069876856468</c:v>
                </c:pt>
                <c:pt idx="70">
                  <c:v>150.820153676592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2</c:f>
              <c:strCache>
                <c:ptCount val="71"/>
                <c:pt idx="0">
                  <c:v>16.99</c:v>
                </c:pt>
                <c:pt idx="1">
                  <c:v>17.09</c:v>
                </c:pt>
                <c:pt idx="2">
                  <c:v>17.19</c:v>
                </c:pt>
                <c:pt idx="3">
                  <c:v>17.29</c:v>
                </c:pt>
                <c:pt idx="4">
                  <c:v>17.39</c:v>
                </c:pt>
                <c:pt idx="5">
                  <c:v>17.49</c:v>
                </c:pt>
                <c:pt idx="6">
                  <c:v>17.59</c:v>
                </c:pt>
                <c:pt idx="7">
                  <c:v>17.69</c:v>
                </c:pt>
                <c:pt idx="8">
                  <c:v>17.79</c:v>
                </c:pt>
                <c:pt idx="9">
                  <c:v>17.89</c:v>
                </c:pt>
                <c:pt idx="10">
                  <c:v>17.99</c:v>
                </c:pt>
                <c:pt idx="11">
                  <c:v>18.09</c:v>
                </c:pt>
                <c:pt idx="12">
                  <c:v>18.19</c:v>
                </c:pt>
                <c:pt idx="13">
                  <c:v>18.29</c:v>
                </c:pt>
                <c:pt idx="14">
                  <c:v>18.39</c:v>
                </c:pt>
                <c:pt idx="15">
                  <c:v>18.49</c:v>
                </c:pt>
                <c:pt idx="16">
                  <c:v>18.59</c:v>
                </c:pt>
                <c:pt idx="17">
                  <c:v>18.69</c:v>
                </c:pt>
                <c:pt idx="18">
                  <c:v>18.79</c:v>
                </c:pt>
                <c:pt idx="19">
                  <c:v>18.89</c:v>
                </c:pt>
                <c:pt idx="20">
                  <c:v>18.99</c:v>
                </c:pt>
                <c:pt idx="21">
                  <c:v>19.09</c:v>
                </c:pt>
                <c:pt idx="22">
                  <c:v>19.19</c:v>
                </c:pt>
                <c:pt idx="23">
                  <c:v>19.29</c:v>
                </c:pt>
                <c:pt idx="24">
                  <c:v>19.39</c:v>
                </c:pt>
                <c:pt idx="25">
                  <c:v>19.49</c:v>
                </c:pt>
                <c:pt idx="26">
                  <c:v>19.59</c:v>
                </c:pt>
                <c:pt idx="27">
                  <c:v>19.69</c:v>
                </c:pt>
                <c:pt idx="28">
                  <c:v>19.79</c:v>
                </c:pt>
                <c:pt idx="29">
                  <c:v>19.89</c:v>
                </c:pt>
                <c:pt idx="30">
                  <c:v>19.99</c:v>
                </c:pt>
                <c:pt idx="31">
                  <c:v>20.09</c:v>
                </c:pt>
                <c:pt idx="32">
                  <c:v>20.19</c:v>
                </c:pt>
                <c:pt idx="33">
                  <c:v>20.29</c:v>
                </c:pt>
                <c:pt idx="34">
                  <c:v>20.39</c:v>
                </c:pt>
                <c:pt idx="35">
                  <c:v>20.49</c:v>
                </c:pt>
                <c:pt idx="36">
                  <c:v>20.59</c:v>
                </c:pt>
                <c:pt idx="37">
                  <c:v>20.69</c:v>
                </c:pt>
                <c:pt idx="38">
                  <c:v>20.79</c:v>
                </c:pt>
                <c:pt idx="39">
                  <c:v>20.89</c:v>
                </c:pt>
                <c:pt idx="40">
                  <c:v>20.99</c:v>
                </c:pt>
                <c:pt idx="41">
                  <c:v>21.09</c:v>
                </c:pt>
                <c:pt idx="42">
                  <c:v>21.19</c:v>
                </c:pt>
                <c:pt idx="43">
                  <c:v>21.29</c:v>
                </c:pt>
                <c:pt idx="44">
                  <c:v>21.39</c:v>
                </c:pt>
                <c:pt idx="45">
                  <c:v>21.49</c:v>
                </c:pt>
                <c:pt idx="46">
                  <c:v>21.59</c:v>
                </c:pt>
                <c:pt idx="47">
                  <c:v>21.69</c:v>
                </c:pt>
                <c:pt idx="48">
                  <c:v>21.79</c:v>
                </c:pt>
                <c:pt idx="49">
                  <c:v>21.89</c:v>
                </c:pt>
                <c:pt idx="50">
                  <c:v>21.99</c:v>
                </c:pt>
                <c:pt idx="51">
                  <c:v>22.09</c:v>
                </c:pt>
                <c:pt idx="52">
                  <c:v>22.19</c:v>
                </c:pt>
                <c:pt idx="53">
                  <c:v>22.29</c:v>
                </c:pt>
                <c:pt idx="54">
                  <c:v>22.39</c:v>
                </c:pt>
                <c:pt idx="55">
                  <c:v>22.49</c:v>
                </c:pt>
                <c:pt idx="56">
                  <c:v>22.59</c:v>
                </c:pt>
                <c:pt idx="57">
                  <c:v>22.69</c:v>
                </c:pt>
                <c:pt idx="58">
                  <c:v>22.79</c:v>
                </c:pt>
                <c:pt idx="59">
                  <c:v>22.89</c:v>
                </c:pt>
                <c:pt idx="60">
                  <c:v>22.99</c:v>
                </c:pt>
                <c:pt idx="61">
                  <c:v>23.09</c:v>
                </c:pt>
                <c:pt idx="62">
                  <c:v>23.19</c:v>
                </c:pt>
                <c:pt idx="63">
                  <c:v>23.29</c:v>
                </c:pt>
                <c:pt idx="64">
                  <c:v>23.39</c:v>
                </c:pt>
                <c:pt idx="65">
                  <c:v>23.49</c:v>
                </c:pt>
                <c:pt idx="66">
                  <c:v>23.59</c:v>
                </c:pt>
                <c:pt idx="67">
                  <c:v>23.69</c:v>
                </c:pt>
                <c:pt idx="68">
                  <c:v>23.79</c:v>
                </c:pt>
                <c:pt idx="69">
                  <c:v>23.89</c:v>
                </c:pt>
                <c:pt idx="70">
                  <c:v>23.99</c:v>
                </c:pt>
              </c:strCache>
            </c:strRef>
          </c:cat>
          <c:val>
            <c:numRef>
              <c:f>Sheet1!$E$2:$E$72</c:f>
              <c:numCache>
                <c:formatCode>General</c:formatCode>
                <c:ptCount val="71"/>
                <c:pt idx="0">
                  <c:v>0.15943094483565814</c:v>
                </c:pt>
                <c:pt idx="1">
                  <c:v>0.16434942965230104</c:v>
                </c:pt>
                <c:pt idx="2">
                  <c:v>0.16921068951470772</c:v>
                </c:pt>
                <c:pt idx="3">
                  <c:v>0.17401571733706364</c:v>
                </c:pt>
                <c:pt idx="4">
                  <c:v>0.17876548319481458</c:v>
                </c:pt>
                <c:pt idx="5">
                  <c:v>0.18346093497757737</c:v>
                </c:pt>
                <c:pt idx="6">
                  <c:v>0.1881029990197741</c:v>
                </c:pt>
                <c:pt idx="7">
                  <c:v>0.19269258070988285</c:v>
                </c:pt>
                <c:pt idx="8">
                  <c:v>0.1972305650791361</c:v>
                </c:pt>
                <c:pt idx="9">
                  <c:v>0.20171781737047645</c:v>
                </c:pt>
                <c:pt idx="10">
                  <c:v>0.20615518358853968</c:v>
                </c:pt>
                <c:pt idx="11">
                  <c:v>0.21054349103138914</c:v>
                </c:pt>
                <c:pt idx="12">
                  <c:v>0.21488354880471866</c:v>
                </c:pt>
                <c:pt idx="13">
                  <c:v>0.21917614831918156</c:v>
                </c:pt>
                <c:pt idx="14">
                  <c:v>0.2234220637714967</c:v>
                </c:pt>
                <c:pt idx="15">
                  <c:v>0.22762205260994212</c:v>
                </c:pt>
                <c:pt idx="16">
                  <c:v>0.2317768559848215</c:v>
                </c:pt>
                <c:pt idx="17">
                  <c:v>0.23588719918447462</c:v>
                </c:pt>
                <c:pt idx="18">
                  <c:v>0.23995379205736186</c:v>
                </c:pt>
                <c:pt idx="19">
                  <c:v>0.24397732942074277</c:v>
                </c:pt>
                <c:pt idx="20">
                  <c:v>0.24795849145644164</c:v>
                </c:pt>
                <c:pt idx="21">
                  <c:v>0.2518979440941765</c:v>
                </c:pt>
                <c:pt idx="22">
                  <c:v>0.25579633938289875</c:v>
                </c:pt>
                <c:pt idx="23">
                  <c:v>0.25965431585058735</c:v>
                </c:pt>
                <c:pt idx="24">
                  <c:v>0.2634724988529049</c:v>
                </c:pt>
                <c:pt idx="25">
                  <c:v>0.2672515009111252</c:v>
                </c:pt>
                <c:pt idx="26">
                  <c:v>0.2709919220397052</c:v>
                </c:pt>
                <c:pt idx="27">
                  <c:v>0.2746943500638815</c:v>
                </c:pt>
                <c:pt idx="28">
                  <c:v>0.2783593609276315</c:v>
                </c:pt>
                <c:pt idx="29">
                  <c:v>0.28198751899234925</c:v>
                </c:pt>
                <c:pt idx="30">
                  <c:v>0.2855793773265547</c:v>
                </c:pt>
                <c:pt idx="31">
                  <c:v>0.2891354779869503</c:v>
                </c:pt>
                <c:pt idx="32">
                  <c:v>0.29265635229112585</c:v>
                </c:pt>
                <c:pt idx="33">
                  <c:v>0.2961425210821996</c:v>
                </c:pt>
                <c:pt idx="34">
                  <c:v>0.29959449498567087</c:v>
                </c:pt>
                <c:pt idx="35">
                  <c:v>0.303012774658752</c:v>
                </c:pt>
                <c:pt idx="36">
                  <c:v>0.3063978510324348</c:v>
                </c:pt>
                <c:pt idx="37">
                  <c:v>0.30975020554653576</c:v>
                </c:pt>
                <c:pt idx="38">
                  <c:v>0.3130703103779619</c:v>
                </c:pt>
                <c:pt idx="39">
                  <c:v>0.316358628662414</c:v>
                </c:pt>
                <c:pt idx="40">
                  <c:v>0.31961561470975836</c:v>
                </c:pt>
                <c:pt idx="41">
                  <c:v>0.3228417142132682</c:v>
                </c:pt>
                <c:pt idx="42">
                  <c:v>0.32603736445294135</c:v>
                </c:pt>
                <c:pt idx="43">
                  <c:v>0.3292029944930875</c:v>
                </c:pt>
                <c:pt idx="44">
                  <c:v>0.3323390253743726</c:v>
                </c:pt>
                <c:pt idx="45">
                  <c:v>0.33544587030050393</c:v>
                </c:pt>
                <c:pt idx="46">
                  <c:v>0.33852393481972354</c:v>
                </c:pt>
                <c:pt idx="47">
                  <c:v>0.34157361700128286</c:v>
                </c:pt>
                <c:pt idx="48">
                  <c:v>0.3445953076070596</c:v>
                </c:pt>
                <c:pt idx="49">
                  <c:v>0.3475893902584662</c:v>
                </c:pt>
                <c:pt idx="50">
                  <c:v>0.35055624159881</c:v>
                </c:pt>
                <c:pt idx="51">
                  <c:v>0.35349623145123715</c:v>
                </c:pt>
                <c:pt idx="52">
                  <c:v>0.35640972297241225</c:v>
                </c:pt>
                <c:pt idx="53">
                  <c:v>0.359297072802056</c:v>
                </c:pt>
                <c:pt idx="54">
                  <c:v>0.36215863120847847</c:v>
                </c:pt>
                <c:pt idx="55">
                  <c:v>0.3649947422302281</c:v>
                </c:pt>
                <c:pt idx="56">
                  <c:v>0.367805743813981</c:v>
                </c:pt>
                <c:pt idx="57">
                  <c:v>0.3705919679487804</c:v>
                </c:pt>
                <c:pt idx="58">
                  <c:v>0.3733537407967455</c:v>
                </c:pt>
                <c:pt idx="59">
                  <c:v>0.37609138282035093</c:v>
                </c:pt>
                <c:pt idx="60">
                  <c:v>0.3788052089063867</c:v>
                </c:pt>
                <c:pt idx="61">
                  <c:v>0.3814955284866967</c:v>
                </c:pt>
                <c:pt idx="62">
                  <c:v>0.38416264565579256</c:v>
                </c:pt>
                <c:pt idx="63">
                  <c:v>0.38680685928543707</c:v>
                </c:pt>
                <c:pt idx="64">
                  <c:v>0.38942846313629026</c:v>
                </c:pt>
                <c:pt idx="65">
                  <c:v>0.3920277459667019</c:v>
                </c:pt>
                <c:pt idx="66">
                  <c:v>0.394604991638738</c:v>
                </c:pt>
                <c:pt idx="67">
                  <c:v>0.39716047922152087</c:v>
                </c:pt>
                <c:pt idx="68">
                  <c:v>0.39969448309196426</c:v>
                </c:pt>
                <c:pt idx="69">
                  <c:v>0.40220727303297743</c:v>
                </c:pt>
                <c:pt idx="70">
                  <c:v>0.404699114329213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3.39</c:v>
                </c:pt>
                <c:pt idx="1">
                  <c:v>3.49</c:v>
                </c:pt>
                <c:pt idx="2">
                  <c:v>3.59</c:v>
                </c:pt>
                <c:pt idx="3">
                  <c:v>3.69</c:v>
                </c:pt>
                <c:pt idx="4">
                  <c:v>3.79</c:v>
                </c:pt>
                <c:pt idx="5">
                  <c:v>3.89</c:v>
                </c:pt>
                <c:pt idx="6">
                  <c:v>3.99</c:v>
                </c:pt>
                <c:pt idx="7">
                  <c:v>4.09</c:v>
                </c:pt>
                <c:pt idx="8">
                  <c:v>4.19</c:v>
                </c:pt>
                <c:pt idx="9">
                  <c:v>4.29</c:v>
                </c:pt>
                <c:pt idx="10">
                  <c:v>4.39</c:v>
                </c:pt>
                <c:pt idx="11">
                  <c:v>4.49</c:v>
                </c:pt>
                <c:pt idx="12">
                  <c:v>4.59</c:v>
                </c:pt>
                <c:pt idx="13">
                  <c:v>4.69</c:v>
                </c:pt>
                <c:pt idx="14">
                  <c:v>4.79</c:v>
                </c:pt>
              </c:strCache>
            </c:strRef>
          </c:cat>
          <c:val>
            <c:numRef>
              <c:f>Sheet1!$B$2:$B$16</c:f>
              <c:numCache>
                <c:formatCode>General</c:formatCode>
                <c:ptCount val="15"/>
                <c:pt idx="0">
                  <c:v>113.65321926303898</c:v>
                </c:pt>
                <c:pt idx="1">
                  <c:v>110.17944188461331</c:v>
                </c:pt>
                <c:pt idx="2">
                  <c:v>106.97124191062906</c:v>
                </c:pt>
                <c:pt idx="3">
                  <c:v>105.15103133598669</c:v>
                </c:pt>
                <c:pt idx="4">
                  <c:v>103.38340057353537</c:v>
                </c:pt>
                <c:pt idx="5">
                  <c:v>101.66688738845289</c:v>
                </c:pt>
                <c:pt idx="6">
                  <c:v>100.0</c:v>
                </c:pt>
                <c:pt idx="7">
                  <c:v>96.60794767140769</c:v>
                </c:pt>
                <c:pt idx="8">
                  <c:v>93.39141580136575</c:v>
                </c:pt>
                <c:pt idx="9">
                  <c:v>91.27605628662813</c:v>
                </c:pt>
                <c:pt idx="10">
                  <c:v>89.24122297569359</c:v>
                </c:pt>
                <c:pt idx="11">
                  <c:v>87.28435609534189</c:v>
                </c:pt>
                <c:pt idx="12">
                  <c:v>86.20299479718221</c:v>
                </c:pt>
                <c:pt idx="13">
                  <c:v>85.14092661925868</c:v>
                </c:pt>
                <c:pt idx="14">
                  <c:v>84.097791442977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3.39</c:v>
                </c:pt>
                <c:pt idx="1">
                  <c:v>3.49</c:v>
                </c:pt>
                <c:pt idx="2">
                  <c:v>3.59</c:v>
                </c:pt>
                <c:pt idx="3">
                  <c:v>3.69</c:v>
                </c:pt>
                <c:pt idx="4">
                  <c:v>3.79</c:v>
                </c:pt>
                <c:pt idx="5">
                  <c:v>3.89</c:v>
                </c:pt>
                <c:pt idx="6">
                  <c:v>3.99</c:v>
                </c:pt>
                <c:pt idx="7">
                  <c:v>4.09</c:v>
                </c:pt>
                <c:pt idx="8">
                  <c:v>4.19</c:v>
                </c:pt>
                <c:pt idx="9">
                  <c:v>4.29</c:v>
                </c:pt>
                <c:pt idx="10">
                  <c:v>4.39</c:v>
                </c:pt>
                <c:pt idx="11">
                  <c:v>4.49</c:v>
                </c:pt>
                <c:pt idx="12">
                  <c:v>4.59</c:v>
                </c:pt>
                <c:pt idx="13">
                  <c:v>4.69</c:v>
                </c:pt>
                <c:pt idx="14">
                  <c:v>4.79</c:v>
                </c:pt>
              </c:strCache>
            </c:strRef>
          </c:cat>
          <c:val>
            <c:numRef>
              <c:f>Sheet1!$C$2:$C$16</c:f>
              <c:numCache>
                <c:formatCode>General</c:formatCode>
                <c:ptCount val="15"/>
                <c:pt idx="0">
                  <c:v>96.62145617629054</c:v>
                </c:pt>
                <c:pt idx="1">
                  <c:v>96.41880502943717</c:v>
                </c:pt>
                <c:pt idx="2">
                  <c:v>96.2818733788876</c:v>
                </c:pt>
                <c:pt idx="3">
                  <c:v>97.27070349474722</c:v>
                </c:pt>
                <c:pt idx="4">
                  <c:v>98.21834023714571</c:v>
                </c:pt>
                <c:pt idx="5">
                  <c:v>99.12731964544064</c:v>
                </c:pt>
                <c:pt idx="6">
                  <c:v>100.0</c:v>
                </c:pt>
                <c:pt idx="7">
                  <c:v>99.02001286680162</c:v>
                </c:pt>
                <c:pt idx="8">
                  <c:v>98.05499608570942</c:v>
                </c:pt>
                <c:pt idx="9">
                  <c:v>98.11408270805141</c:v>
                </c:pt>
                <c:pt idx="10">
                  <c:v>98.15600586828849</c:v>
                </c:pt>
                <c:pt idx="11">
                  <c:v>98.1839276651658</c:v>
                </c:pt>
                <c:pt idx="12">
                  <c:v>99.12075488456054</c:v>
                </c:pt>
                <c:pt idx="13">
                  <c:v>100.02609947897119</c:v>
                </c:pt>
                <c:pt idx="14">
                  <c:v>100.900985263841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3.39</c:v>
                </c:pt>
                <c:pt idx="1">
                  <c:v>3.49</c:v>
                </c:pt>
                <c:pt idx="2">
                  <c:v>3.59</c:v>
                </c:pt>
                <c:pt idx="3">
                  <c:v>3.69</c:v>
                </c:pt>
                <c:pt idx="4">
                  <c:v>3.79</c:v>
                </c:pt>
                <c:pt idx="5">
                  <c:v>3.89</c:v>
                </c:pt>
                <c:pt idx="6">
                  <c:v>3.99</c:v>
                </c:pt>
                <c:pt idx="7">
                  <c:v>4.09</c:v>
                </c:pt>
                <c:pt idx="8">
                  <c:v>4.19</c:v>
                </c:pt>
                <c:pt idx="9">
                  <c:v>4.29</c:v>
                </c:pt>
                <c:pt idx="10">
                  <c:v>4.39</c:v>
                </c:pt>
                <c:pt idx="11">
                  <c:v>4.49</c:v>
                </c:pt>
                <c:pt idx="12">
                  <c:v>4.59</c:v>
                </c:pt>
                <c:pt idx="13">
                  <c:v>4.69</c:v>
                </c:pt>
                <c:pt idx="14">
                  <c:v>4.79</c:v>
                </c:pt>
              </c:strCache>
            </c:strRef>
          </c:cat>
          <c:val>
            <c:numRef>
              <c:f>Sheet1!$D$2:$D$16</c:f>
              <c:numCache>
                <c:formatCode>General</c:formatCode>
                <c:ptCount val="15"/>
                <c:pt idx="0">
                  <c:v>79.54151109332564</c:v>
                </c:pt>
                <c:pt idx="1">
                  <c:v>82.62405429350241</c:v>
                </c:pt>
                <c:pt idx="2">
                  <c:v>85.57172297683681</c:v>
                </c:pt>
                <c:pt idx="3">
                  <c:v>89.37403076386256</c:v>
                </c:pt>
                <c:pt idx="4">
                  <c:v>93.04191878909434</c:v>
                </c:pt>
                <c:pt idx="5">
                  <c:v>96.58185812315767</c:v>
                </c:pt>
                <c:pt idx="6">
                  <c:v>100.0</c:v>
                </c:pt>
                <c:pt idx="7">
                  <c:v>101.44432485126589</c:v>
                </c:pt>
                <c:pt idx="8">
                  <c:v>102.74248138161275</c:v>
                </c:pt>
                <c:pt idx="9">
                  <c:v>104.98323851319347</c:v>
                </c:pt>
                <c:pt idx="10">
                  <c:v>107.10914853980313</c:v>
                </c:pt>
                <c:pt idx="11">
                  <c:v>109.12906708521966</c:v>
                </c:pt>
                <c:pt idx="12">
                  <c:v>112.08958806685474</c:v>
                </c:pt>
                <c:pt idx="13">
                  <c:v>114.96812389548892</c:v>
                </c:pt>
                <c:pt idx="14">
                  <c:v>117.7670561755465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3.39</c:v>
                </c:pt>
                <c:pt idx="1">
                  <c:v>3.49</c:v>
                </c:pt>
                <c:pt idx="2">
                  <c:v>3.59</c:v>
                </c:pt>
                <c:pt idx="3">
                  <c:v>3.69</c:v>
                </c:pt>
                <c:pt idx="4">
                  <c:v>3.79</c:v>
                </c:pt>
                <c:pt idx="5">
                  <c:v>3.89</c:v>
                </c:pt>
                <c:pt idx="6">
                  <c:v>3.99</c:v>
                </c:pt>
                <c:pt idx="7">
                  <c:v>4.09</c:v>
                </c:pt>
                <c:pt idx="8">
                  <c:v>4.19</c:v>
                </c:pt>
                <c:pt idx="9">
                  <c:v>4.29</c:v>
                </c:pt>
                <c:pt idx="10">
                  <c:v>4.39</c:v>
                </c:pt>
                <c:pt idx="11">
                  <c:v>4.49</c:v>
                </c:pt>
                <c:pt idx="12">
                  <c:v>4.59</c:v>
                </c:pt>
                <c:pt idx="13">
                  <c:v>4.69</c:v>
                </c:pt>
                <c:pt idx="14">
                  <c:v>4.79</c:v>
                </c:pt>
              </c:strCache>
            </c:strRef>
          </c:cat>
          <c:val>
            <c:numRef>
              <c:f>Sheet1!$E$2:$E$16</c:f>
              <c:numCache>
                <c:formatCode>General</c:formatCode>
                <c:ptCount val="15"/>
                <c:pt idx="0">
                  <c:v>0.41318312848290506</c:v>
                </c:pt>
                <c:pt idx="1">
                  <c:v>0.4299973654891255</c:v>
                </c:pt>
                <c:pt idx="2">
                  <c:v>0.44587487619973465</c:v>
                </c:pt>
                <c:pt idx="3">
                  <c:v>0.46089181722413236</c:v>
                </c:pt>
                <c:pt idx="4">
                  <c:v>0.475116307534841</c:v>
                </c:pt>
                <c:pt idx="5">
                  <c:v>0.4886094615827885</c:v>
                </c:pt>
                <c:pt idx="6">
                  <c:v>0.5014262670569043</c:v>
                </c:pt>
                <c:pt idx="7">
                  <c:v>0.5136163338770288</c:v>
                </c:pt>
                <c:pt idx="8">
                  <c:v>0.5252245359324696</c:v>
                </c:pt>
                <c:pt idx="9">
                  <c:v>0.5362915630669108</c:v>
                </c:pt>
                <c:pt idx="10">
                  <c:v>0.5468543976211954</c:v>
                </c:pt>
                <c:pt idx="11">
                  <c:v>0.5569467272955562</c:v>
                </c:pt>
                <c:pt idx="12">
                  <c:v>0.5665993040429298</c:v>
                </c:pt>
                <c:pt idx="13">
                  <c:v>0.575840257048411</c:v>
                </c:pt>
                <c:pt idx="14">
                  <c:v>0.58469536650460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5.29</c:v>
                </c:pt>
                <c:pt idx="1">
                  <c:v>5.39</c:v>
                </c:pt>
                <c:pt idx="2">
                  <c:v>5.49</c:v>
                </c:pt>
                <c:pt idx="3">
                  <c:v>5.59</c:v>
                </c:pt>
                <c:pt idx="4">
                  <c:v>5.69</c:v>
                </c:pt>
                <c:pt idx="5">
                  <c:v>5.79</c:v>
                </c:pt>
                <c:pt idx="6">
                  <c:v>5.89</c:v>
                </c:pt>
                <c:pt idx="7">
                  <c:v>5.99</c:v>
                </c:pt>
                <c:pt idx="8">
                  <c:v>6.09</c:v>
                </c:pt>
                <c:pt idx="9">
                  <c:v>6.19</c:v>
                </c:pt>
                <c:pt idx="10">
                  <c:v>6.29</c:v>
                </c:pt>
                <c:pt idx="11">
                  <c:v>6.39</c:v>
                </c:pt>
                <c:pt idx="12">
                  <c:v>6.49</c:v>
                </c:pt>
                <c:pt idx="13">
                  <c:v>6.59</c:v>
                </c:pt>
                <c:pt idx="14">
                  <c:v>6.69</c:v>
                </c:pt>
                <c:pt idx="15">
                  <c:v>6.79</c:v>
                </c:pt>
                <c:pt idx="16">
                  <c:v>6.89</c:v>
                </c:pt>
                <c:pt idx="17">
                  <c:v>6.99</c:v>
                </c:pt>
                <c:pt idx="18">
                  <c:v>7.09</c:v>
                </c:pt>
                <c:pt idx="19">
                  <c:v>7.19</c:v>
                </c:pt>
                <c:pt idx="20">
                  <c:v>7.29</c:v>
                </c:pt>
                <c:pt idx="21">
                  <c:v>7.39</c:v>
                </c:pt>
              </c:strCache>
            </c:strRef>
          </c:cat>
          <c:val>
            <c:numRef>
              <c:f>Sheet1!$B$2:$B$23</c:f>
              <c:numCache>
                <c:formatCode>General</c:formatCode>
                <c:ptCount val="22"/>
                <c:pt idx="0">
                  <c:v>151.83940480746529</c:v>
                </c:pt>
                <c:pt idx="1">
                  <c:v>144.48195070518054</c:v>
                </c:pt>
                <c:pt idx="2">
                  <c:v>138.89804535120697</c:v>
                </c:pt>
                <c:pt idx="3">
                  <c:v>133.76026452902863</c:v>
                </c:pt>
                <c:pt idx="4">
                  <c:v>129.03107402113918</c:v>
                </c:pt>
                <c:pt idx="5">
                  <c:v>124.67481168181152</c:v>
                </c:pt>
                <c:pt idx="6">
                  <c:v>120.65790668702212</c:v>
                </c:pt>
                <c:pt idx="7">
                  <c:v>116.94901841958267</c:v>
                </c:pt>
                <c:pt idx="8">
                  <c:v>107.90938876911258</c:v>
                </c:pt>
                <c:pt idx="9">
                  <c:v>100.0</c:v>
                </c:pt>
                <c:pt idx="10">
                  <c:v>93.06514787044861</c:v>
                </c:pt>
                <c:pt idx="11">
                  <c:v>89.50412348222126</c:v>
                </c:pt>
                <c:pt idx="12">
                  <c:v>86.18740685266322</c:v>
                </c:pt>
                <c:pt idx="13">
                  <c:v>83.09479127034642</c:v>
                </c:pt>
                <c:pt idx="14">
                  <c:v>80.3707449031579</c:v>
                </c:pt>
                <c:pt idx="15">
                  <c:v>77.77265167001117</c:v>
                </c:pt>
                <c:pt idx="16">
                  <c:v>75.08217347356846</c:v>
                </c:pt>
                <c:pt idx="17">
                  <c:v>72.585104225835</c:v>
                </c:pt>
                <c:pt idx="18">
                  <c:v>70.26079753299133</c:v>
                </c:pt>
                <c:pt idx="19">
                  <c:v>68.0912940647733</c:v>
                </c:pt>
                <c:pt idx="20">
                  <c:v>67.4264219685997</c:v>
                </c:pt>
                <c:pt idx="21">
                  <c:v>66.7720400413819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5.29</c:v>
                </c:pt>
                <c:pt idx="1">
                  <c:v>5.39</c:v>
                </c:pt>
                <c:pt idx="2">
                  <c:v>5.49</c:v>
                </c:pt>
                <c:pt idx="3">
                  <c:v>5.59</c:v>
                </c:pt>
                <c:pt idx="4">
                  <c:v>5.69</c:v>
                </c:pt>
                <c:pt idx="5">
                  <c:v>5.79</c:v>
                </c:pt>
                <c:pt idx="6">
                  <c:v>5.89</c:v>
                </c:pt>
                <c:pt idx="7">
                  <c:v>5.99</c:v>
                </c:pt>
                <c:pt idx="8">
                  <c:v>6.09</c:v>
                </c:pt>
                <c:pt idx="9">
                  <c:v>6.19</c:v>
                </c:pt>
                <c:pt idx="10">
                  <c:v>6.29</c:v>
                </c:pt>
                <c:pt idx="11">
                  <c:v>6.39</c:v>
                </c:pt>
                <c:pt idx="12">
                  <c:v>6.49</c:v>
                </c:pt>
                <c:pt idx="13">
                  <c:v>6.59</c:v>
                </c:pt>
                <c:pt idx="14">
                  <c:v>6.69</c:v>
                </c:pt>
                <c:pt idx="15">
                  <c:v>6.79</c:v>
                </c:pt>
                <c:pt idx="16">
                  <c:v>6.89</c:v>
                </c:pt>
                <c:pt idx="17">
                  <c:v>6.99</c:v>
                </c:pt>
                <c:pt idx="18">
                  <c:v>7.09</c:v>
                </c:pt>
                <c:pt idx="19">
                  <c:v>7.19</c:v>
                </c:pt>
                <c:pt idx="20">
                  <c:v>7.29</c:v>
                </c:pt>
                <c:pt idx="21">
                  <c:v>7.39</c:v>
                </c:pt>
              </c:strCache>
            </c:strRef>
          </c:cat>
          <c:val>
            <c:numRef>
              <c:f>Sheet1!$C$2:$C$23</c:f>
              <c:numCache>
                <c:formatCode>General</c:formatCode>
                <c:ptCount val="22"/>
                <c:pt idx="0">
                  <c:v>129.9037132643325</c:v>
                </c:pt>
                <c:pt idx="1">
                  <c:v>125.92271947877225</c:v>
                </c:pt>
                <c:pt idx="2">
                  <c:v>123.2851782343267</c:v>
                </c:pt>
                <c:pt idx="3">
                  <c:v>120.87182297624972</c:v>
                </c:pt>
                <c:pt idx="4">
                  <c:v>118.6695285239911</c:v>
                </c:pt>
                <c:pt idx="5">
                  <c:v>116.66453001058541</c:v>
                </c:pt>
                <c:pt idx="6">
                  <c:v>114.84277865273533</c:v>
                </c:pt>
                <c:pt idx="7">
                  <c:v>113.19024127810347</c:v>
                </c:pt>
                <c:pt idx="8">
                  <c:v>106.17510812879311</c:v>
                </c:pt>
                <c:pt idx="9">
                  <c:v>100.0</c:v>
                </c:pt>
                <c:pt idx="10">
                  <c:v>94.56107964678998</c:v>
                </c:pt>
                <c:pt idx="11">
                  <c:v>92.38038147327289</c:v>
                </c:pt>
                <c:pt idx="12">
                  <c:v>90.34155152588266</c:v>
                </c:pt>
                <c:pt idx="13">
                  <c:v>88.4348205400874</c:v>
                </c:pt>
                <c:pt idx="14">
                  <c:v>86.82547979769589</c:v>
                </c:pt>
                <c:pt idx="15">
                  <c:v>85.26702672474661</c:v>
                </c:pt>
                <c:pt idx="16">
                  <c:v>83.52390607534936</c:v>
                </c:pt>
                <c:pt idx="17">
                  <c:v>81.91266253848562</c:v>
                </c:pt>
                <c:pt idx="18">
                  <c:v>80.41897327064467</c:v>
                </c:pt>
                <c:pt idx="19">
                  <c:v>79.03031006336533</c:v>
                </c:pt>
                <c:pt idx="20">
                  <c:v>79.34104085563392</c:v>
                </c:pt>
                <c:pt idx="21">
                  <c:v>79.6428882784826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5.29</c:v>
                </c:pt>
                <c:pt idx="1">
                  <c:v>5.39</c:v>
                </c:pt>
                <c:pt idx="2">
                  <c:v>5.49</c:v>
                </c:pt>
                <c:pt idx="3">
                  <c:v>5.59</c:v>
                </c:pt>
                <c:pt idx="4">
                  <c:v>5.69</c:v>
                </c:pt>
                <c:pt idx="5">
                  <c:v>5.79</c:v>
                </c:pt>
                <c:pt idx="6">
                  <c:v>5.89</c:v>
                </c:pt>
                <c:pt idx="7">
                  <c:v>5.99</c:v>
                </c:pt>
                <c:pt idx="8">
                  <c:v>6.09</c:v>
                </c:pt>
                <c:pt idx="9">
                  <c:v>6.19</c:v>
                </c:pt>
                <c:pt idx="10">
                  <c:v>6.29</c:v>
                </c:pt>
                <c:pt idx="11">
                  <c:v>6.39</c:v>
                </c:pt>
                <c:pt idx="12">
                  <c:v>6.49</c:v>
                </c:pt>
                <c:pt idx="13">
                  <c:v>6.59</c:v>
                </c:pt>
                <c:pt idx="14">
                  <c:v>6.69</c:v>
                </c:pt>
                <c:pt idx="15">
                  <c:v>6.79</c:v>
                </c:pt>
                <c:pt idx="16">
                  <c:v>6.89</c:v>
                </c:pt>
                <c:pt idx="17">
                  <c:v>6.99</c:v>
                </c:pt>
                <c:pt idx="18">
                  <c:v>7.09</c:v>
                </c:pt>
                <c:pt idx="19">
                  <c:v>7.19</c:v>
                </c:pt>
                <c:pt idx="20">
                  <c:v>7.29</c:v>
                </c:pt>
                <c:pt idx="21">
                  <c:v>7.39</c:v>
                </c:pt>
              </c:strCache>
            </c:strRef>
          </c:cat>
          <c:val>
            <c:numRef>
              <c:f>Sheet1!$D$2:$D$23</c:f>
              <c:numCache>
                <c:formatCode>General</c:formatCode>
                <c:ptCount val="22"/>
                <c:pt idx="0">
                  <c:v>110.84403642503482</c:v>
                </c:pt>
                <c:pt idx="1">
                  <c:v>109.80816814084149</c:v>
                </c:pt>
                <c:pt idx="2">
                  <c:v>109.72486470584917</c:v>
                </c:pt>
                <c:pt idx="3">
                  <c:v>109.67290541785056</c:v>
                </c:pt>
                <c:pt idx="4">
                  <c:v>109.66043338073521</c:v>
                </c:pt>
                <c:pt idx="5">
                  <c:v>109.69275650211543</c:v>
                </c:pt>
                <c:pt idx="6">
                  <c:v>109.77282382266755</c:v>
                </c:pt>
                <c:pt idx="7">
                  <c:v>109.90166652606652</c:v>
                </c:pt>
                <c:pt idx="8">
                  <c:v>104.65873328110773</c:v>
                </c:pt>
                <c:pt idx="9">
                  <c:v>100.0</c:v>
                </c:pt>
                <c:pt idx="10">
                  <c:v>95.86755290086711</c:v>
                </c:pt>
                <c:pt idx="11">
                  <c:v>94.88390533033323</c:v>
                </c:pt>
                <c:pt idx="12">
                  <c:v>93.95300025733616</c:v>
                </c:pt>
                <c:pt idx="13">
                  <c:v>93.07417228252035</c:v>
                </c:pt>
                <c:pt idx="14">
                  <c:v>92.43474199848475</c:v>
                </c:pt>
                <c:pt idx="15">
                  <c:v>91.78056142928523</c:v>
                </c:pt>
                <c:pt idx="16">
                  <c:v>90.85982229502127</c:v>
                </c:pt>
                <c:pt idx="17">
                  <c:v>90.01716290990753</c:v>
                </c:pt>
                <c:pt idx="18">
                  <c:v>89.24382630702152</c:v>
                </c:pt>
                <c:pt idx="19">
                  <c:v>88.53206060859992</c:v>
                </c:pt>
                <c:pt idx="20">
                  <c:v>89.68640250857341</c:v>
                </c:pt>
                <c:pt idx="21">
                  <c:v>90.8152800120046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5.29</c:v>
                </c:pt>
                <c:pt idx="1">
                  <c:v>5.39</c:v>
                </c:pt>
                <c:pt idx="2">
                  <c:v>5.49</c:v>
                </c:pt>
                <c:pt idx="3">
                  <c:v>5.59</c:v>
                </c:pt>
                <c:pt idx="4">
                  <c:v>5.69</c:v>
                </c:pt>
                <c:pt idx="5">
                  <c:v>5.79</c:v>
                </c:pt>
                <c:pt idx="6">
                  <c:v>5.89</c:v>
                </c:pt>
                <c:pt idx="7">
                  <c:v>5.99</c:v>
                </c:pt>
                <c:pt idx="8">
                  <c:v>6.09</c:v>
                </c:pt>
                <c:pt idx="9">
                  <c:v>6.19</c:v>
                </c:pt>
                <c:pt idx="10">
                  <c:v>6.29</c:v>
                </c:pt>
                <c:pt idx="11">
                  <c:v>6.39</c:v>
                </c:pt>
                <c:pt idx="12">
                  <c:v>6.49</c:v>
                </c:pt>
                <c:pt idx="13">
                  <c:v>6.59</c:v>
                </c:pt>
                <c:pt idx="14">
                  <c:v>6.69</c:v>
                </c:pt>
                <c:pt idx="15">
                  <c:v>6.79</c:v>
                </c:pt>
                <c:pt idx="16">
                  <c:v>6.89</c:v>
                </c:pt>
                <c:pt idx="17">
                  <c:v>6.99</c:v>
                </c:pt>
                <c:pt idx="18">
                  <c:v>7.09</c:v>
                </c:pt>
                <c:pt idx="19">
                  <c:v>7.19</c:v>
                </c:pt>
                <c:pt idx="20">
                  <c:v>7.29</c:v>
                </c:pt>
                <c:pt idx="21">
                  <c:v>7.39</c:v>
                </c:pt>
              </c:strCache>
            </c:strRef>
          </c:cat>
          <c:val>
            <c:numRef>
              <c:f>Sheet1!$E$2:$E$23</c:f>
              <c:numCache>
                <c:formatCode>General</c:formatCode>
                <c:ptCount val="22"/>
                <c:pt idx="0">
                  <c:v>0.4628899494402565</c:v>
                </c:pt>
                <c:pt idx="1">
                  <c:v>0.47285488544322035</c:v>
                </c:pt>
                <c:pt idx="2">
                  <c:v>0.48245680009817066</c:v>
                </c:pt>
                <c:pt idx="3">
                  <c:v>0.4917151757672551</c:v>
                </c:pt>
                <c:pt idx="4">
                  <c:v>0.5006481252265303</c:v>
                </c:pt>
                <c:pt idx="5">
                  <c:v>0.5092725099376436</c:v>
                </c:pt>
                <c:pt idx="6">
                  <c:v>0.5176040462714698</c:v>
                </c:pt>
                <c:pt idx="7">
                  <c:v>0.5256574010916455</c:v>
                </c:pt>
                <c:pt idx="8">
                  <c:v>0.533446277921011</c:v>
                </c:pt>
                <c:pt idx="9">
                  <c:v>0.5409834947558897</c:v>
                </c:pt>
                <c:pt idx="10">
                  <c:v>0.5482810544577037</c:v>
                </c:pt>
                <c:pt idx="11">
                  <c:v>0.555350208535048</c:v>
                </c:pt>
                <c:pt idx="12">
                  <c:v>0.5622015150291152</c:v>
                </c:pt>
                <c:pt idx="13">
                  <c:v>0.568844891128825</c:v>
                </c:pt>
                <c:pt idx="14">
                  <c:v>0.5752896610671085</c:v>
                </c:pt>
                <c:pt idx="15">
                  <c:v>0.5815445997848242</c:v>
                </c:pt>
                <c:pt idx="16">
                  <c:v>0.5876179727923013</c:v>
                </c:pt>
                <c:pt idx="17">
                  <c:v>0.5935175726092926</c:v>
                </c:pt>
                <c:pt idx="18">
                  <c:v>0.5992507521211504</c:v>
                </c:pt>
                <c:pt idx="19">
                  <c:v>0.6048244551514544</c:v>
                </c:pt>
                <c:pt idx="20">
                  <c:v>0.6102452445183755</c:v>
                </c:pt>
                <c:pt idx="21">
                  <c:v>0.6155193278131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0</c:f>
              <c:strCache>
                <c:ptCount val="29"/>
                <c:pt idx="0">
                  <c:v>6.99</c:v>
                </c:pt>
                <c:pt idx="1">
                  <c:v>7.09</c:v>
                </c:pt>
                <c:pt idx="2">
                  <c:v>7.19</c:v>
                </c:pt>
                <c:pt idx="3">
                  <c:v>7.29</c:v>
                </c:pt>
                <c:pt idx="4">
                  <c:v>7.39</c:v>
                </c:pt>
                <c:pt idx="5">
                  <c:v>7.49</c:v>
                </c:pt>
                <c:pt idx="6">
                  <c:v>7.59</c:v>
                </c:pt>
                <c:pt idx="7">
                  <c:v>7.69</c:v>
                </c:pt>
                <c:pt idx="8">
                  <c:v>7.79</c:v>
                </c:pt>
                <c:pt idx="9">
                  <c:v>7.89</c:v>
                </c:pt>
                <c:pt idx="10">
                  <c:v>7.99</c:v>
                </c:pt>
                <c:pt idx="11">
                  <c:v>8.09</c:v>
                </c:pt>
                <c:pt idx="12">
                  <c:v>8.19</c:v>
                </c:pt>
                <c:pt idx="13">
                  <c:v>8.29</c:v>
                </c:pt>
                <c:pt idx="14">
                  <c:v>8.39</c:v>
                </c:pt>
                <c:pt idx="15">
                  <c:v>8.49</c:v>
                </c:pt>
                <c:pt idx="16">
                  <c:v>8.59</c:v>
                </c:pt>
                <c:pt idx="17">
                  <c:v>8.69</c:v>
                </c:pt>
                <c:pt idx="18">
                  <c:v>8.79</c:v>
                </c:pt>
                <c:pt idx="19">
                  <c:v>8.89</c:v>
                </c:pt>
                <c:pt idx="20">
                  <c:v>8.99</c:v>
                </c:pt>
                <c:pt idx="21">
                  <c:v>9.09</c:v>
                </c:pt>
                <c:pt idx="22">
                  <c:v>9.19</c:v>
                </c:pt>
                <c:pt idx="23">
                  <c:v>9.29</c:v>
                </c:pt>
                <c:pt idx="24">
                  <c:v>9.39</c:v>
                </c:pt>
                <c:pt idx="25">
                  <c:v>9.49</c:v>
                </c:pt>
                <c:pt idx="26">
                  <c:v>9.59</c:v>
                </c:pt>
                <c:pt idx="27">
                  <c:v>9.69</c:v>
                </c:pt>
                <c:pt idx="28">
                  <c:v>9.79</c:v>
                </c:pt>
              </c:strCache>
            </c:strRef>
          </c:cat>
          <c:val>
            <c:numRef>
              <c:f>Sheet1!$B$2:$B$30</c:f>
              <c:numCache>
                <c:formatCode>General</c:formatCode>
                <c:ptCount val="29"/>
                <c:pt idx="0">
                  <c:v>128.70818959132558</c:v>
                </c:pt>
                <c:pt idx="1">
                  <c:v>122.68295412195349</c:v>
                </c:pt>
                <c:pt idx="2">
                  <c:v>117.21629317679157</c:v>
                </c:pt>
                <c:pt idx="3">
                  <c:v>115.42982241555957</c:v>
                </c:pt>
                <c:pt idx="4">
                  <c:v>113.68311661872748</c:v>
                </c:pt>
                <c:pt idx="5">
                  <c:v>111.97526927461345</c:v>
                </c:pt>
                <c:pt idx="6">
                  <c:v>110.305382219066</c:v>
                </c:pt>
                <c:pt idx="7">
                  <c:v>108.89640253300415</c:v>
                </c:pt>
                <c:pt idx="8">
                  <c:v>107.5303815226692</c:v>
                </c:pt>
                <c:pt idx="9">
                  <c:v>106.20460930184888</c:v>
                </c:pt>
                <c:pt idx="10">
                  <c:v>104.91661176966429</c:v>
                </c:pt>
                <c:pt idx="11">
                  <c:v>103.66414724631447</c:v>
                </c:pt>
                <c:pt idx="12">
                  <c:v>100.0</c:v>
                </c:pt>
                <c:pt idx="13">
                  <c:v>96.5293817698555</c:v>
                </c:pt>
                <c:pt idx="14">
                  <c:v>93.24431272750795</c:v>
                </c:pt>
                <c:pt idx="15">
                  <c:v>90.136535650851</c:v>
                </c:pt>
                <c:pt idx="16">
                  <c:v>87.3454990944985</c:v>
                </c:pt>
                <c:pt idx="17">
                  <c:v>84.81295056327055</c:v>
                </c:pt>
                <c:pt idx="18">
                  <c:v>82.50282823442839</c:v>
                </c:pt>
                <c:pt idx="19">
                  <c:v>80.38509515793825</c:v>
                </c:pt>
                <c:pt idx="20">
                  <c:v>78.43465909422758</c:v>
                </c:pt>
                <c:pt idx="21">
                  <c:v>77.7171478136108</c:v>
                </c:pt>
                <c:pt idx="22">
                  <c:v>77.0098863399213</c:v>
                </c:pt>
                <c:pt idx="23">
                  <c:v>76.31263421844115</c:v>
                </c:pt>
                <c:pt idx="24">
                  <c:v>75.62516034777143</c:v>
                </c:pt>
                <c:pt idx="25">
                  <c:v>74.9472424579</c:v>
                </c:pt>
                <c:pt idx="26">
                  <c:v>74.2786666235579</c:v>
                </c:pt>
                <c:pt idx="27">
                  <c:v>72.29573817896376</c:v>
                </c:pt>
                <c:pt idx="28">
                  <c:v>70.395397598166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0</c:f>
              <c:strCache>
                <c:ptCount val="29"/>
                <c:pt idx="0">
                  <c:v>6.99</c:v>
                </c:pt>
                <c:pt idx="1">
                  <c:v>7.09</c:v>
                </c:pt>
                <c:pt idx="2">
                  <c:v>7.19</c:v>
                </c:pt>
                <c:pt idx="3">
                  <c:v>7.29</c:v>
                </c:pt>
                <c:pt idx="4">
                  <c:v>7.39</c:v>
                </c:pt>
                <c:pt idx="5">
                  <c:v>7.49</c:v>
                </c:pt>
                <c:pt idx="6">
                  <c:v>7.59</c:v>
                </c:pt>
                <c:pt idx="7">
                  <c:v>7.69</c:v>
                </c:pt>
                <c:pt idx="8">
                  <c:v>7.79</c:v>
                </c:pt>
                <c:pt idx="9">
                  <c:v>7.89</c:v>
                </c:pt>
                <c:pt idx="10">
                  <c:v>7.99</c:v>
                </c:pt>
                <c:pt idx="11">
                  <c:v>8.09</c:v>
                </c:pt>
                <c:pt idx="12">
                  <c:v>8.19</c:v>
                </c:pt>
                <c:pt idx="13">
                  <c:v>8.29</c:v>
                </c:pt>
                <c:pt idx="14">
                  <c:v>8.39</c:v>
                </c:pt>
                <c:pt idx="15">
                  <c:v>8.49</c:v>
                </c:pt>
                <c:pt idx="16">
                  <c:v>8.59</c:v>
                </c:pt>
                <c:pt idx="17">
                  <c:v>8.69</c:v>
                </c:pt>
                <c:pt idx="18">
                  <c:v>8.79</c:v>
                </c:pt>
                <c:pt idx="19">
                  <c:v>8.89</c:v>
                </c:pt>
                <c:pt idx="20">
                  <c:v>8.99</c:v>
                </c:pt>
                <c:pt idx="21">
                  <c:v>9.09</c:v>
                </c:pt>
                <c:pt idx="22">
                  <c:v>9.19</c:v>
                </c:pt>
                <c:pt idx="23">
                  <c:v>9.29</c:v>
                </c:pt>
                <c:pt idx="24">
                  <c:v>9.39</c:v>
                </c:pt>
                <c:pt idx="25">
                  <c:v>9.49</c:v>
                </c:pt>
                <c:pt idx="26">
                  <c:v>9.59</c:v>
                </c:pt>
                <c:pt idx="27">
                  <c:v>9.69</c:v>
                </c:pt>
                <c:pt idx="28">
                  <c:v>9.79</c:v>
                </c:pt>
              </c:strCache>
            </c:strRef>
          </c:cat>
          <c:val>
            <c:numRef>
              <c:f>Sheet1!$C$2:$C$30</c:f>
              <c:numCache>
                <c:formatCode>General</c:formatCode>
                <c:ptCount val="29"/>
                <c:pt idx="0">
                  <c:v>110.13191656048657</c:v>
                </c:pt>
                <c:pt idx="1">
                  <c:v>106.45655423930708</c:v>
                </c:pt>
                <c:pt idx="2">
                  <c:v>103.127829014822</c:v>
                </c:pt>
                <c:pt idx="3">
                  <c:v>102.94440097058649</c:v>
                </c:pt>
                <c:pt idx="4">
                  <c:v>102.75398018393105</c:v>
                </c:pt>
                <c:pt idx="5">
                  <c:v>102.55717460599104</c:v>
                </c:pt>
                <c:pt idx="6">
                  <c:v>102.35455561807146</c:v>
                </c:pt>
                <c:pt idx="7">
                  <c:v>102.35370318054507</c:v>
                </c:pt>
                <c:pt idx="8">
                  <c:v>102.36000390454278</c:v>
                </c:pt>
                <c:pt idx="9">
                  <c:v>102.37237711093488</c:v>
                </c:pt>
                <c:pt idx="10">
                  <c:v>102.38984468773617</c:v>
                </c:pt>
                <c:pt idx="11">
                  <c:v>102.41154167656772</c:v>
                </c:pt>
                <c:pt idx="12">
                  <c:v>100.0</c:v>
                </c:pt>
                <c:pt idx="13">
                  <c:v>97.69624559718069</c:v>
                </c:pt>
                <c:pt idx="14">
                  <c:v>95.49903654089215</c:v>
                </c:pt>
                <c:pt idx="15">
                  <c:v>93.40646963909312</c:v>
                </c:pt>
                <c:pt idx="16">
                  <c:v>91.57313279913043</c:v>
                </c:pt>
                <c:pt idx="17">
                  <c:v>89.9459836851963</c:v>
                </c:pt>
                <c:pt idx="18">
                  <c:v>88.49579401168789</c:v>
                </c:pt>
                <c:pt idx="19">
                  <c:v>87.19811129750641</c:v>
                </c:pt>
                <c:pt idx="20">
                  <c:v>86.03244198407086</c:v>
                </c:pt>
                <c:pt idx="21">
                  <c:v>86.18157580369501</c:v>
                </c:pt>
                <c:pt idx="22">
                  <c:v>86.32487570946984</c:v>
                </c:pt>
                <c:pt idx="23">
                  <c:v>86.46244321295752</c:v>
                </c:pt>
                <c:pt idx="24">
                  <c:v>86.5943787696052</c:v>
                </c:pt>
                <c:pt idx="25">
                  <c:v>86.72078174607769</c:v>
                </c:pt>
                <c:pt idx="26">
                  <c:v>86.84175039077427</c:v>
                </c:pt>
                <c:pt idx="27">
                  <c:v>85.39819253469174</c:v>
                </c:pt>
                <c:pt idx="28">
                  <c:v>84.005473854409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0</c:f>
              <c:strCache>
                <c:ptCount val="29"/>
                <c:pt idx="0">
                  <c:v>6.99</c:v>
                </c:pt>
                <c:pt idx="1">
                  <c:v>7.09</c:v>
                </c:pt>
                <c:pt idx="2">
                  <c:v>7.19</c:v>
                </c:pt>
                <c:pt idx="3">
                  <c:v>7.29</c:v>
                </c:pt>
                <c:pt idx="4">
                  <c:v>7.39</c:v>
                </c:pt>
                <c:pt idx="5">
                  <c:v>7.49</c:v>
                </c:pt>
                <c:pt idx="6">
                  <c:v>7.59</c:v>
                </c:pt>
                <c:pt idx="7">
                  <c:v>7.69</c:v>
                </c:pt>
                <c:pt idx="8">
                  <c:v>7.79</c:v>
                </c:pt>
                <c:pt idx="9">
                  <c:v>7.89</c:v>
                </c:pt>
                <c:pt idx="10">
                  <c:v>7.99</c:v>
                </c:pt>
                <c:pt idx="11">
                  <c:v>8.09</c:v>
                </c:pt>
                <c:pt idx="12">
                  <c:v>8.19</c:v>
                </c:pt>
                <c:pt idx="13">
                  <c:v>8.29</c:v>
                </c:pt>
                <c:pt idx="14">
                  <c:v>8.39</c:v>
                </c:pt>
                <c:pt idx="15">
                  <c:v>8.49</c:v>
                </c:pt>
                <c:pt idx="16">
                  <c:v>8.59</c:v>
                </c:pt>
                <c:pt idx="17">
                  <c:v>8.69</c:v>
                </c:pt>
                <c:pt idx="18">
                  <c:v>8.79</c:v>
                </c:pt>
                <c:pt idx="19">
                  <c:v>8.89</c:v>
                </c:pt>
                <c:pt idx="20">
                  <c:v>8.99</c:v>
                </c:pt>
                <c:pt idx="21">
                  <c:v>9.09</c:v>
                </c:pt>
                <c:pt idx="22">
                  <c:v>9.19</c:v>
                </c:pt>
                <c:pt idx="23">
                  <c:v>9.29</c:v>
                </c:pt>
                <c:pt idx="24">
                  <c:v>9.39</c:v>
                </c:pt>
                <c:pt idx="25">
                  <c:v>9.49</c:v>
                </c:pt>
                <c:pt idx="26">
                  <c:v>9.59</c:v>
                </c:pt>
                <c:pt idx="27">
                  <c:v>9.69</c:v>
                </c:pt>
                <c:pt idx="28">
                  <c:v>9.79</c:v>
                </c:pt>
              </c:strCache>
            </c:strRef>
          </c:cat>
          <c:val>
            <c:numRef>
              <c:f>Sheet1!$D$2:$D$30</c:f>
              <c:numCache>
                <c:formatCode>General</c:formatCode>
                <c:ptCount val="29"/>
                <c:pt idx="0">
                  <c:v>92.59730536480104</c:v>
                </c:pt>
                <c:pt idx="1">
                  <c:v>91.13682218331166</c:v>
                </c:pt>
                <c:pt idx="2">
                  <c:v>89.82175312380349</c:v>
                </c:pt>
                <c:pt idx="3">
                  <c:v>91.14838356210801</c:v>
                </c:pt>
                <c:pt idx="4">
                  <c:v>92.42415735107022</c:v>
                </c:pt>
                <c:pt idx="5">
                  <c:v>93.65108285057143</c:v>
                </c:pt>
                <c:pt idx="6">
                  <c:v>94.83109214294866</c:v>
                </c:pt>
                <c:pt idx="7">
                  <c:v>96.1636624806806</c:v>
                </c:pt>
                <c:pt idx="8">
                  <c:v>97.46948086231086</c:v>
                </c:pt>
                <c:pt idx="9">
                  <c:v>98.74903023697009</c:v>
                </c:pt>
                <c:pt idx="10">
                  <c:v>100.0027658353142</c:v>
                </c:pt>
                <c:pt idx="11">
                  <c:v>101.23113919952802</c:v>
                </c:pt>
                <c:pt idx="12">
                  <c:v>100.0</c:v>
                </c:pt>
                <c:pt idx="13">
                  <c:v>98.79484906733813</c:v>
                </c:pt>
                <c:pt idx="14">
                  <c:v>97.62094718683065</c:v>
                </c:pt>
                <c:pt idx="15">
                  <c:v>96.48251459237899</c:v>
                </c:pt>
                <c:pt idx="16">
                  <c:v>95.53923698123108</c:v>
                </c:pt>
                <c:pt idx="17">
                  <c:v>94.75399758464975</c:v>
                </c:pt>
                <c:pt idx="18">
                  <c:v>94.10383401184758</c:v>
                </c:pt>
                <c:pt idx="19">
                  <c:v>93.56941732499948</c:v>
                </c:pt>
                <c:pt idx="20">
                  <c:v>93.13447496552205</c:v>
                </c:pt>
                <c:pt idx="21">
                  <c:v>94.09861296194703</c:v>
                </c:pt>
                <c:pt idx="22">
                  <c:v>95.04194401232152</c:v>
                </c:pt>
                <c:pt idx="23">
                  <c:v>95.96488088695314</c:v>
                </c:pt>
                <c:pt idx="24">
                  <c:v>96.86782599212506</c:v>
                </c:pt>
                <c:pt idx="25">
                  <c:v>97.75117177660901</c:v>
                </c:pt>
                <c:pt idx="26">
                  <c:v>98.61530111214748</c:v>
                </c:pt>
                <c:pt idx="27">
                  <c:v>97.68023488708457</c:v>
                </c:pt>
                <c:pt idx="28">
                  <c:v>96.76547206493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0</c:f>
              <c:strCache>
                <c:ptCount val="29"/>
                <c:pt idx="0">
                  <c:v>6.99</c:v>
                </c:pt>
                <c:pt idx="1">
                  <c:v>7.09</c:v>
                </c:pt>
                <c:pt idx="2">
                  <c:v>7.19</c:v>
                </c:pt>
                <c:pt idx="3">
                  <c:v>7.29</c:v>
                </c:pt>
                <c:pt idx="4">
                  <c:v>7.39</c:v>
                </c:pt>
                <c:pt idx="5">
                  <c:v>7.49</c:v>
                </c:pt>
                <c:pt idx="6">
                  <c:v>7.59</c:v>
                </c:pt>
                <c:pt idx="7">
                  <c:v>7.69</c:v>
                </c:pt>
                <c:pt idx="8">
                  <c:v>7.79</c:v>
                </c:pt>
                <c:pt idx="9">
                  <c:v>7.89</c:v>
                </c:pt>
                <c:pt idx="10">
                  <c:v>7.99</c:v>
                </c:pt>
                <c:pt idx="11">
                  <c:v>8.09</c:v>
                </c:pt>
                <c:pt idx="12">
                  <c:v>8.19</c:v>
                </c:pt>
                <c:pt idx="13">
                  <c:v>8.29</c:v>
                </c:pt>
                <c:pt idx="14">
                  <c:v>8.39</c:v>
                </c:pt>
                <c:pt idx="15">
                  <c:v>8.49</c:v>
                </c:pt>
                <c:pt idx="16">
                  <c:v>8.59</c:v>
                </c:pt>
                <c:pt idx="17">
                  <c:v>8.69</c:v>
                </c:pt>
                <c:pt idx="18">
                  <c:v>8.79</c:v>
                </c:pt>
                <c:pt idx="19">
                  <c:v>8.89</c:v>
                </c:pt>
                <c:pt idx="20">
                  <c:v>8.99</c:v>
                </c:pt>
                <c:pt idx="21">
                  <c:v>9.09</c:v>
                </c:pt>
                <c:pt idx="22">
                  <c:v>9.19</c:v>
                </c:pt>
                <c:pt idx="23">
                  <c:v>9.29</c:v>
                </c:pt>
                <c:pt idx="24">
                  <c:v>9.39</c:v>
                </c:pt>
                <c:pt idx="25">
                  <c:v>9.49</c:v>
                </c:pt>
                <c:pt idx="26">
                  <c:v>9.59</c:v>
                </c:pt>
                <c:pt idx="27">
                  <c:v>9.69</c:v>
                </c:pt>
                <c:pt idx="28">
                  <c:v>9.79</c:v>
                </c:pt>
              </c:strCache>
            </c:strRef>
          </c:cat>
          <c:val>
            <c:numRef>
              <c:f>Sheet1!$E$2:$E$30</c:f>
              <c:numCache>
                <c:formatCode>General</c:formatCode>
                <c:ptCount val="29"/>
                <c:pt idx="0">
                  <c:v>0.44195695624595055</c:v>
                </c:pt>
                <c:pt idx="1">
                  <c:v>0.44982780312541526</c:v>
                </c:pt>
                <c:pt idx="2">
                  <c:v>0.4574797112877879</c:v>
                </c:pt>
                <c:pt idx="3">
                  <c:v>0.4649216905568168</c:v>
                </c:pt>
                <c:pt idx="4">
                  <c:v>0.4721622630797287</c:v>
                </c:pt>
                <c:pt idx="5">
                  <c:v>0.47920949588240236</c:v>
                </c:pt>
                <c:pt idx="6">
                  <c:v>0.48607103085101366</c:v>
                </c:pt>
                <c:pt idx="7">
                  <c:v>0.4927541123744076</c:v>
                </c:pt>
                <c:pt idx="8">
                  <c:v>0.49926561285740617</c:v>
                </c:pt>
                <c:pt idx="9">
                  <c:v>0.5056120562939412</c:v>
                </c:pt>
                <c:pt idx="10">
                  <c:v>0.5117996400699867</c:v>
                </c:pt>
                <c:pt idx="11">
                  <c:v>0.5178342551494679</c:v>
                </c:pt>
                <c:pt idx="12">
                  <c:v>0.5237215047813426</c:v>
                </c:pt>
                <c:pt idx="13">
                  <c:v>0.5294667218527377</c:v>
                </c:pt>
                <c:pt idx="14">
                  <c:v>0.535074985001096</c:v>
                </c:pt>
                <c:pt idx="15">
                  <c:v>0.5405511335876556</c:v>
                </c:pt>
                <c:pt idx="16">
                  <c:v>0.5458997816250518</c:v>
                </c:pt>
                <c:pt idx="17">
                  <c:v>0.5511253307432905</c:v>
                </c:pt>
                <c:pt idx="18">
                  <c:v>0.5562319822706706</c:v>
                </c:pt>
                <c:pt idx="19">
                  <c:v>0.5612237484993469</c:v>
                </c:pt>
                <c:pt idx="20">
                  <c:v>0.5661044631990205</c:v>
                </c:pt>
                <c:pt idx="21">
                  <c:v>0.5708777914366551</c:v>
                </c:pt>
                <c:pt idx="22">
                  <c:v>0.5755472387550811</c:v>
                </c:pt>
                <c:pt idx="23">
                  <c:v>0.5801161597587938</c:v>
                </c:pt>
                <c:pt idx="24">
                  <c:v>0.584587766151139</c:v>
                </c:pt>
                <c:pt idx="25">
                  <c:v>0.5889651342633505</c:v>
                </c:pt>
                <c:pt idx="26">
                  <c:v>0.5932512121125332</c:v>
                </c:pt>
                <c:pt idx="27">
                  <c:v>0.5974488260226206</c:v>
                </c:pt>
                <c:pt idx="28">
                  <c:v>0.601560686839549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6.09</c:v>
                </c:pt>
                <c:pt idx="1">
                  <c:v>6.19</c:v>
                </c:pt>
                <c:pt idx="2">
                  <c:v>6.29</c:v>
                </c:pt>
                <c:pt idx="3">
                  <c:v>6.39</c:v>
                </c:pt>
                <c:pt idx="4">
                  <c:v>6.49</c:v>
                </c:pt>
                <c:pt idx="5">
                  <c:v>6.59</c:v>
                </c:pt>
                <c:pt idx="6">
                  <c:v>6.69</c:v>
                </c:pt>
                <c:pt idx="7">
                  <c:v>6.79</c:v>
                </c:pt>
                <c:pt idx="8">
                  <c:v>6.89</c:v>
                </c:pt>
                <c:pt idx="9">
                  <c:v>6.99</c:v>
                </c:pt>
                <c:pt idx="10">
                  <c:v>7.09</c:v>
                </c:pt>
                <c:pt idx="11">
                  <c:v>7.19</c:v>
                </c:pt>
                <c:pt idx="12">
                  <c:v>7.29</c:v>
                </c:pt>
                <c:pt idx="13">
                  <c:v>7.39</c:v>
                </c:pt>
                <c:pt idx="14">
                  <c:v>7.49</c:v>
                </c:pt>
                <c:pt idx="15">
                  <c:v>7.59</c:v>
                </c:pt>
                <c:pt idx="16">
                  <c:v>7.69</c:v>
                </c:pt>
                <c:pt idx="17">
                  <c:v>7.79</c:v>
                </c:pt>
                <c:pt idx="18">
                  <c:v>7.89</c:v>
                </c:pt>
                <c:pt idx="19">
                  <c:v>7.99</c:v>
                </c:pt>
                <c:pt idx="20">
                  <c:v>8.09</c:v>
                </c:pt>
                <c:pt idx="21">
                  <c:v>8.19</c:v>
                </c:pt>
                <c:pt idx="22">
                  <c:v>8.29</c:v>
                </c:pt>
                <c:pt idx="23">
                  <c:v>8.39</c:v>
                </c:pt>
                <c:pt idx="24">
                  <c:v>8.49</c:v>
                </c:pt>
                <c:pt idx="25">
                  <c:v>8.59</c:v>
                </c:pt>
              </c:strCache>
            </c:strRef>
          </c:cat>
          <c:val>
            <c:numRef>
              <c:f>Sheet1!$B$2:$B$27</c:f>
              <c:numCache>
                <c:formatCode>General</c:formatCode>
                <c:ptCount val="26"/>
                <c:pt idx="0">
                  <c:v>132.88551713636247</c:v>
                </c:pt>
                <c:pt idx="1">
                  <c:v>127.22636673285675</c:v>
                </c:pt>
                <c:pt idx="2">
                  <c:v>122.20642784712612</c:v>
                </c:pt>
                <c:pt idx="3">
                  <c:v>119.16383005498177</c:v>
                </c:pt>
                <c:pt idx="4">
                  <c:v>116.30788503413365</c:v>
                </c:pt>
                <c:pt idx="5">
                  <c:v>113.62206798285574</c:v>
                </c:pt>
                <c:pt idx="6">
                  <c:v>110.69457720603853</c:v>
                </c:pt>
                <c:pt idx="7">
                  <c:v>107.89890820284012</c:v>
                </c:pt>
                <c:pt idx="8">
                  <c:v>105.71639308825496</c:v>
                </c:pt>
                <c:pt idx="9">
                  <c:v>103.6831574725892</c:v>
                </c:pt>
                <c:pt idx="10">
                  <c:v>101.78251048113991</c:v>
                </c:pt>
                <c:pt idx="11">
                  <c:v>100.0</c:v>
                </c:pt>
                <c:pt idx="12">
                  <c:v>99.07061616539488</c:v>
                </c:pt>
                <c:pt idx="13">
                  <c:v>98.15618932370495</c:v>
                </c:pt>
                <c:pt idx="14">
                  <c:v>97.2563588898141</c:v>
                </c:pt>
                <c:pt idx="15">
                  <c:v>96.37077487351551</c:v>
                </c:pt>
                <c:pt idx="16">
                  <c:v>94.3045647260731</c:v>
                </c:pt>
                <c:pt idx="17">
                  <c:v>92.34360668698822</c:v>
                </c:pt>
                <c:pt idx="18">
                  <c:v>90.47903788779466</c:v>
                </c:pt>
                <c:pt idx="19">
                  <c:v>88.70289399101227</c:v>
                </c:pt>
                <c:pt idx="20">
                  <c:v>87.00802299540419</c:v>
                </c:pt>
                <c:pt idx="21">
                  <c:v>85.4000203502103</c:v>
                </c:pt>
                <c:pt idx="22">
                  <c:v>83.85837112271562</c:v>
                </c:pt>
                <c:pt idx="23">
                  <c:v>82.37892986347339</c:v>
                </c:pt>
                <c:pt idx="24">
                  <c:v>80.95783753506058</c:v>
                </c:pt>
                <c:pt idx="25">
                  <c:v>78.4557259293495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6.09</c:v>
                </c:pt>
                <c:pt idx="1">
                  <c:v>6.19</c:v>
                </c:pt>
                <c:pt idx="2">
                  <c:v>6.29</c:v>
                </c:pt>
                <c:pt idx="3">
                  <c:v>6.39</c:v>
                </c:pt>
                <c:pt idx="4">
                  <c:v>6.49</c:v>
                </c:pt>
                <c:pt idx="5">
                  <c:v>6.59</c:v>
                </c:pt>
                <c:pt idx="6">
                  <c:v>6.69</c:v>
                </c:pt>
                <c:pt idx="7">
                  <c:v>6.79</c:v>
                </c:pt>
                <c:pt idx="8">
                  <c:v>6.89</c:v>
                </c:pt>
                <c:pt idx="9">
                  <c:v>6.99</c:v>
                </c:pt>
                <c:pt idx="10">
                  <c:v>7.09</c:v>
                </c:pt>
                <c:pt idx="11">
                  <c:v>7.19</c:v>
                </c:pt>
                <c:pt idx="12">
                  <c:v>7.29</c:v>
                </c:pt>
                <c:pt idx="13">
                  <c:v>7.39</c:v>
                </c:pt>
                <c:pt idx="14">
                  <c:v>7.49</c:v>
                </c:pt>
                <c:pt idx="15">
                  <c:v>7.59</c:v>
                </c:pt>
                <c:pt idx="16">
                  <c:v>7.69</c:v>
                </c:pt>
                <c:pt idx="17">
                  <c:v>7.79</c:v>
                </c:pt>
                <c:pt idx="18">
                  <c:v>7.89</c:v>
                </c:pt>
                <c:pt idx="19">
                  <c:v>7.99</c:v>
                </c:pt>
                <c:pt idx="20">
                  <c:v>8.09</c:v>
                </c:pt>
                <c:pt idx="21">
                  <c:v>8.19</c:v>
                </c:pt>
                <c:pt idx="22">
                  <c:v>8.29</c:v>
                </c:pt>
                <c:pt idx="23">
                  <c:v>8.39</c:v>
                </c:pt>
                <c:pt idx="24">
                  <c:v>8.49</c:v>
                </c:pt>
                <c:pt idx="25">
                  <c:v>8.59</c:v>
                </c:pt>
              </c:strCache>
            </c:strRef>
          </c:cat>
          <c:val>
            <c:numRef>
              <c:f>Sheet1!$C$2:$C$27</c:f>
              <c:numCache>
                <c:formatCode>General</c:formatCode>
                <c:ptCount val="26"/>
                <c:pt idx="0">
                  <c:v>112.64926071689789</c:v>
                </c:pt>
                <c:pt idx="1">
                  <c:v>109.6114050628508</c:v>
                </c:pt>
                <c:pt idx="2">
                  <c:v>106.97703927431202</c:v>
                </c:pt>
                <c:pt idx="3">
                  <c:v>105.96313387901097</c:v>
                </c:pt>
                <c:pt idx="4">
                  <c:v>105.0336994263547</c:v>
                </c:pt>
                <c:pt idx="5">
                  <c:v>104.18131461005673</c:v>
                </c:pt>
                <c:pt idx="6">
                  <c:v>103.0288130690896</c:v>
                </c:pt>
                <c:pt idx="7">
                  <c:v>101.91996910212478</c:v>
                </c:pt>
                <c:pt idx="8">
                  <c:v>101.3228235600854</c:v>
                </c:pt>
                <c:pt idx="9">
                  <c:v>100.81040731497272</c:v>
                </c:pt>
                <c:pt idx="10">
                  <c:v>100.37245058357279</c:v>
                </c:pt>
                <c:pt idx="11">
                  <c:v>100.0</c:v>
                </c:pt>
                <c:pt idx="12">
                  <c:v>100.4427174524416</c:v>
                </c:pt>
                <c:pt idx="13">
                  <c:v>100.87501200143394</c:v>
                </c:pt>
                <c:pt idx="14">
                  <c:v>101.29713262792059</c:v>
                </c:pt>
                <c:pt idx="15">
                  <c:v>101.70931935698127</c:v>
                </c:pt>
                <c:pt idx="16">
                  <c:v>100.83358715328966</c:v>
                </c:pt>
                <c:pt idx="17">
                  <c:v>100.01480760918815</c:v>
                </c:pt>
                <c:pt idx="18">
                  <c:v>99.24760625053837</c:v>
                </c:pt>
                <c:pt idx="19">
                  <c:v>98.5271195571865</c:v>
                </c:pt>
                <c:pt idx="20">
                  <c:v>97.8489596335955</c:v>
                </c:pt>
                <c:pt idx="21">
                  <c:v>97.22356476265482</c:v>
                </c:pt>
                <c:pt idx="22">
                  <c:v>96.63011529759208</c:v>
                </c:pt>
                <c:pt idx="23">
                  <c:v>96.06652962631401</c:v>
                </c:pt>
                <c:pt idx="24">
                  <c:v>95.53083504130312</c:v>
                </c:pt>
                <c:pt idx="25">
                  <c:v>93.666524373358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6.09</c:v>
                </c:pt>
                <c:pt idx="1">
                  <c:v>6.19</c:v>
                </c:pt>
                <c:pt idx="2">
                  <c:v>6.29</c:v>
                </c:pt>
                <c:pt idx="3">
                  <c:v>6.39</c:v>
                </c:pt>
                <c:pt idx="4">
                  <c:v>6.49</c:v>
                </c:pt>
                <c:pt idx="5">
                  <c:v>6.59</c:v>
                </c:pt>
                <c:pt idx="6">
                  <c:v>6.69</c:v>
                </c:pt>
                <c:pt idx="7">
                  <c:v>6.79</c:v>
                </c:pt>
                <c:pt idx="8">
                  <c:v>6.89</c:v>
                </c:pt>
                <c:pt idx="9">
                  <c:v>6.99</c:v>
                </c:pt>
                <c:pt idx="10">
                  <c:v>7.09</c:v>
                </c:pt>
                <c:pt idx="11">
                  <c:v>7.19</c:v>
                </c:pt>
                <c:pt idx="12">
                  <c:v>7.29</c:v>
                </c:pt>
                <c:pt idx="13">
                  <c:v>7.39</c:v>
                </c:pt>
                <c:pt idx="14">
                  <c:v>7.49</c:v>
                </c:pt>
                <c:pt idx="15">
                  <c:v>7.59</c:v>
                </c:pt>
                <c:pt idx="16">
                  <c:v>7.69</c:v>
                </c:pt>
                <c:pt idx="17">
                  <c:v>7.79</c:v>
                </c:pt>
                <c:pt idx="18">
                  <c:v>7.89</c:v>
                </c:pt>
                <c:pt idx="19">
                  <c:v>7.99</c:v>
                </c:pt>
                <c:pt idx="20">
                  <c:v>8.09</c:v>
                </c:pt>
                <c:pt idx="21">
                  <c:v>8.19</c:v>
                </c:pt>
                <c:pt idx="22">
                  <c:v>8.29</c:v>
                </c:pt>
                <c:pt idx="23">
                  <c:v>8.39</c:v>
                </c:pt>
                <c:pt idx="24">
                  <c:v>8.49</c:v>
                </c:pt>
                <c:pt idx="25">
                  <c:v>8.59</c:v>
                </c:pt>
              </c:strCache>
            </c:strRef>
          </c:cat>
          <c:val>
            <c:numRef>
              <c:f>Sheet1!$D$2:$D$27</c:f>
              <c:numCache>
                <c:formatCode>General</c:formatCode>
                <c:ptCount val="26"/>
                <c:pt idx="0">
                  <c:v>91.1661731798416</c:v>
                </c:pt>
                <c:pt idx="1">
                  <c:v>90.9163871389596</c:v>
                </c:pt>
                <c:pt idx="2">
                  <c:v>90.81835845113369</c:v>
                </c:pt>
                <c:pt idx="3">
                  <c:v>91.95733364985364</c:v>
                </c:pt>
                <c:pt idx="4">
                  <c:v>93.0721307981288</c:v>
                </c:pt>
                <c:pt idx="5">
                  <c:v>94.16501822541682</c:v>
                </c:pt>
                <c:pt idx="6">
                  <c:v>94.89871219365061</c:v>
                </c:pt>
                <c:pt idx="7">
                  <c:v>95.58215454111688</c:v>
                </c:pt>
                <c:pt idx="8">
                  <c:v>96.66569133495666</c:v>
                </c:pt>
                <c:pt idx="9">
                  <c:v>97.7654083946253</c:v>
                </c:pt>
                <c:pt idx="10">
                  <c:v>98.87787673012144</c:v>
                </c:pt>
                <c:pt idx="11">
                  <c:v>100.0</c:v>
                </c:pt>
                <c:pt idx="12">
                  <c:v>101.89696723531303</c:v>
                </c:pt>
                <c:pt idx="13">
                  <c:v>103.75678848727692</c:v>
                </c:pt>
                <c:pt idx="14">
                  <c:v>105.58034868116566</c:v>
                </c:pt>
                <c:pt idx="15">
                  <c:v>107.36850358597746</c:v>
                </c:pt>
                <c:pt idx="16">
                  <c:v>107.75944318035087</c:v>
                </c:pt>
                <c:pt idx="17">
                  <c:v>108.15564415825759</c:v>
                </c:pt>
                <c:pt idx="18">
                  <c:v>108.55549351798402</c:v>
                </c:pt>
                <c:pt idx="19">
                  <c:v>108.957469019721</c:v>
                </c:pt>
                <c:pt idx="20">
                  <c:v>109.36015918379344</c:v>
                </c:pt>
                <c:pt idx="21">
                  <c:v>109.77789018047494</c:v>
                </c:pt>
                <c:pt idx="22">
                  <c:v>110.19096985846366</c:v>
                </c:pt>
                <c:pt idx="23">
                  <c:v>110.59951809914001</c:v>
                </c:pt>
                <c:pt idx="24">
                  <c:v>111.00357391141411</c:v>
                </c:pt>
                <c:pt idx="25">
                  <c:v>109.814281924803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6.09</c:v>
                </c:pt>
                <c:pt idx="1">
                  <c:v>6.19</c:v>
                </c:pt>
                <c:pt idx="2">
                  <c:v>6.29</c:v>
                </c:pt>
                <c:pt idx="3">
                  <c:v>6.39</c:v>
                </c:pt>
                <c:pt idx="4">
                  <c:v>6.49</c:v>
                </c:pt>
                <c:pt idx="5">
                  <c:v>6.59</c:v>
                </c:pt>
                <c:pt idx="6">
                  <c:v>6.69</c:v>
                </c:pt>
                <c:pt idx="7">
                  <c:v>6.79</c:v>
                </c:pt>
                <c:pt idx="8">
                  <c:v>6.89</c:v>
                </c:pt>
                <c:pt idx="9">
                  <c:v>6.99</c:v>
                </c:pt>
                <c:pt idx="10">
                  <c:v>7.09</c:v>
                </c:pt>
                <c:pt idx="11">
                  <c:v>7.19</c:v>
                </c:pt>
                <c:pt idx="12">
                  <c:v>7.29</c:v>
                </c:pt>
                <c:pt idx="13">
                  <c:v>7.39</c:v>
                </c:pt>
                <c:pt idx="14">
                  <c:v>7.49</c:v>
                </c:pt>
                <c:pt idx="15">
                  <c:v>7.59</c:v>
                </c:pt>
                <c:pt idx="16">
                  <c:v>7.69</c:v>
                </c:pt>
                <c:pt idx="17">
                  <c:v>7.79</c:v>
                </c:pt>
                <c:pt idx="18">
                  <c:v>7.89</c:v>
                </c:pt>
                <c:pt idx="19">
                  <c:v>7.99</c:v>
                </c:pt>
                <c:pt idx="20">
                  <c:v>8.09</c:v>
                </c:pt>
                <c:pt idx="21">
                  <c:v>8.19</c:v>
                </c:pt>
                <c:pt idx="22">
                  <c:v>8.29</c:v>
                </c:pt>
                <c:pt idx="23">
                  <c:v>8.39</c:v>
                </c:pt>
                <c:pt idx="24">
                  <c:v>8.49</c:v>
                </c:pt>
                <c:pt idx="25">
                  <c:v>8.59</c:v>
                </c:pt>
              </c:strCache>
            </c:strRef>
          </c:cat>
          <c:val>
            <c:numRef>
              <c:f>Sheet1!$E$2:$E$27</c:f>
              <c:numCache>
                <c:formatCode>General</c:formatCode>
                <c:ptCount val="26"/>
                <c:pt idx="0">
                  <c:v>0.3953367417187731</c:v>
                </c:pt>
                <c:pt idx="1">
                  <c:v>0.40510513038244395</c:v>
                </c:pt>
                <c:pt idx="2">
                  <c:v>0.41456291845267546</c:v>
                </c:pt>
                <c:pt idx="3">
                  <c:v>0.4237246881169531</c:v>
                </c:pt>
                <c:pt idx="4">
                  <c:v>0.4326041228146885</c:v>
                </c:pt>
                <c:pt idx="5">
                  <c:v>0.44121407542751573</c:v>
                </c:pt>
                <c:pt idx="6">
                  <c:v>0.4495666303538608</c:v>
                </c:pt>
                <c:pt idx="7">
                  <c:v>0.4576731600982811</c:v>
                </c:pt>
                <c:pt idx="8">
                  <c:v>0.46554437693284917</c:v>
                </c:pt>
                <c:pt idx="9">
                  <c:v>0.4731903801240814</c:v>
                </c:pt>
                <c:pt idx="10">
                  <c:v>0.48062069916323424</c:v>
                </c:pt>
                <c:pt idx="11">
                  <c:v>0.48784433338905836</c:v>
                </c:pt>
                <c:pt idx="12">
                  <c:v>0.4948697883494279</c:v>
                </c:pt>
                <c:pt idx="13">
                  <c:v>0.5017051092107346</c:v>
                </c:pt>
                <c:pt idx="14">
                  <c:v>0.5083579114909652</c:v>
                </c:pt>
                <c:pt idx="15">
                  <c:v>0.5148354093632844</c:v>
                </c:pt>
                <c:pt idx="16">
                  <c:v>0.5211444417512782</c:v>
                </c:pt>
                <c:pt idx="17">
                  <c:v>0.5272914964142915</c:v>
                </c:pt>
                <c:pt idx="18">
                  <c:v>0.5332827322011824</c:v>
                </c:pt>
                <c:pt idx="19">
                  <c:v>0.5391239996329572</c:v>
                </c:pt>
                <c:pt idx="20">
                  <c:v>0.5448208599588787</c:v>
                </c:pt>
                <c:pt idx="21">
                  <c:v>0.5503786028165237</c:v>
                </c:pt>
                <c:pt idx="22">
                  <c:v>0.5558022626136706</c:v>
                </c:pt>
                <c:pt idx="23">
                  <c:v>0.5610966337386567</c:v>
                </c:pt>
                <c:pt idx="24">
                  <c:v>0.5662662846957983</c:v>
                </c:pt>
                <c:pt idx="25">
                  <c:v>0.571315571253472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0</c:f>
              <c:strCache>
                <c:ptCount val="29"/>
                <c:pt idx="0">
                  <c:v>6.79</c:v>
                </c:pt>
                <c:pt idx="1">
                  <c:v>6.89</c:v>
                </c:pt>
                <c:pt idx="2">
                  <c:v>6.99</c:v>
                </c:pt>
                <c:pt idx="3">
                  <c:v>7.09</c:v>
                </c:pt>
                <c:pt idx="4">
                  <c:v>7.19</c:v>
                </c:pt>
                <c:pt idx="5">
                  <c:v>7.29</c:v>
                </c:pt>
                <c:pt idx="6">
                  <c:v>7.39</c:v>
                </c:pt>
                <c:pt idx="7">
                  <c:v>7.49</c:v>
                </c:pt>
                <c:pt idx="8">
                  <c:v>7.59</c:v>
                </c:pt>
                <c:pt idx="9">
                  <c:v>7.69</c:v>
                </c:pt>
                <c:pt idx="10">
                  <c:v>7.79</c:v>
                </c:pt>
                <c:pt idx="11">
                  <c:v>7.89</c:v>
                </c:pt>
                <c:pt idx="12">
                  <c:v>7.99</c:v>
                </c:pt>
                <c:pt idx="13">
                  <c:v>8.09</c:v>
                </c:pt>
                <c:pt idx="14">
                  <c:v>8.19</c:v>
                </c:pt>
                <c:pt idx="15">
                  <c:v>8.29</c:v>
                </c:pt>
                <c:pt idx="16">
                  <c:v>8.39</c:v>
                </c:pt>
                <c:pt idx="17">
                  <c:v>8.49</c:v>
                </c:pt>
                <c:pt idx="18">
                  <c:v>8.59</c:v>
                </c:pt>
                <c:pt idx="19">
                  <c:v>8.69</c:v>
                </c:pt>
                <c:pt idx="20">
                  <c:v>8.79</c:v>
                </c:pt>
                <c:pt idx="21">
                  <c:v>8.89</c:v>
                </c:pt>
                <c:pt idx="22">
                  <c:v>8.99</c:v>
                </c:pt>
                <c:pt idx="23">
                  <c:v>9.09</c:v>
                </c:pt>
                <c:pt idx="24">
                  <c:v>9.19</c:v>
                </c:pt>
                <c:pt idx="25">
                  <c:v>9.29</c:v>
                </c:pt>
                <c:pt idx="26">
                  <c:v>9.39</c:v>
                </c:pt>
                <c:pt idx="27">
                  <c:v>9.49</c:v>
                </c:pt>
                <c:pt idx="28">
                  <c:v>9.59</c:v>
                </c:pt>
              </c:strCache>
            </c:strRef>
          </c:cat>
          <c:val>
            <c:numRef>
              <c:f>Sheet1!$B$2:$B$30</c:f>
              <c:numCache>
                <c:formatCode>General</c:formatCode>
                <c:ptCount val="29"/>
                <c:pt idx="0">
                  <c:v>132.8326729242776</c:v>
                </c:pt>
                <c:pt idx="1">
                  <c:v>128.3432724866217</c:v>
                </c:pt>
                <c:pt idx="2">
                  <c:v>124.19926033180634</c:v>
                </c:pt>
                <c:pt idx="3">
                  <c:v>120.36544750004037</c:v>
                </c:pt>
                <c:pt idx="4">
                  <c:v>116.81032871509454</c:v>
                </c:pt>
                <c:pt idx="5">
                  <c:v>115.70884163472408</c:v>
                </c:pt>
                <c:pt idx="6">
                  <c:v>114.6241225409318</c:v>
                </c:pt>
                <c:pt idx="7">
                  <c:v>113.55582986501764</c:v>
                </c:pt>
                <c:pt idx="8">
                  <c:v>112.50363051645964</c:v>
                </c:pt>
                <c:pt idx="9">
                  <c:v>109.19358432267539</c:v>
                </c:pt>
                <c:pt idx="10">
                  <c:v>106.00683871567549</c:v>
                </c:pt>
                <c:pt idx="11">
                  <c:v>102.94286664716896</c:v>
                </c:pt>
                <c:pt idx="12">
                  <c:v>100.0</c:v>
                </c:pt>
                <c:pt idx="13">
                  <c:v>97.17563723326947</c:v>
                </c:pt>
                <c:pt idx="14">
                  <c:v>95.31574463209934</c:v>
                </c:pt>
                <c:pt idx="15">
                  <c:v>93.5269178722287</c:v>
                </c:pt>
                <c:pt idx="16">
                  <c:v>91.80542285426118</c:v>
                </c:pt>
                <c:pt idx="17">
                  <c:v>90.14774673332707</c:v>
                </c:pt>
                <c:pt idx="18">
                  <c:v>83.95043148626922</c:v>
                </c:pt>
                <c:pt idx="19">
                  <c:v>78.55160019820528</c:v>
                </c:pt>
                <c:pt idx="20">
                  <c:v>73.8289631437603</c:v>
                </c:pt>
                <c:pt idx="21">
                  <c:v>69.6782487289942</c:v>
                </c:pt>
                <c:pt idx="22">
                  <c:v>66.01155999802297</c:v>
                </c:pt>
                <c:pt idx="23">
                  <c:v>64.65769712338701</c:v>
                </c:pt>
                <c:pt idx="24">
                  <c:v>63.3479415819579</c:v>
                </c:pt>
                <c:pt idx="25">
                  <c:v>62.08079672062249</c:v>
                </c:pt>
                <c:pt idx="26">
                  <c:v>60.85479626966408</c:v>
                </c:pt>
                <c:pt idx="27">
                  <c:v>59.668504910378296</c:v>
                </c:pt>
                <c:pt idx="28">
                  <c:v>58.5205188393319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0</c:f>
              <c:strCache>
                <c:ptCount val="29"/>
                <c:pt idx="0">
                  <c:v>6.79</c:v>
                </c:pt>
                <c:pt idx="1">
                  <c:v>6.89</c:v>
                </c:pt>
                <c:pt idx="2">
                  <c:v>6.99</c:v>
                </c:pt>
                <c:pt idx="3">
                  <c:v>7.09</c:v>
                </c:pt>
                <c:pt idx="4">
                  <c:v>7.19</c:v>
                </c:pt>
                <c:pt idx="5">
                  <c:v>7.29</c:v>
                </c:pt>
                <c:pt idx="6">
                  <c:v>7.39</c:v>
                </c:pt>
                <c:pt idx="7">
                  <c:v>7.49</c:v>
                </c:pt>
                <c:pt idx="8">
                  <c:v>7.59</c:v>
                </c:pt>
                <c:pt idx="9">
                  <c:v>7.69</c:v>
                </c:pt>
                <c:pt idx="10">
                  <c:v>7.79</c:v>
                </c:pt>
                <c:pt idx="11">
                  <c:v>7.89</c:v>
                </c:pt>
                <c:pt idx="12">
                  <c:v>7.99</c:v>
                </c:pt>
                <c:pt idx="13">
                  <c:v>8.09</c:v>
                </c:pt>
                <c:pt idx="14">
                  <c:v>8.19</c:v>
                </c:pt>
                <c:pt idx="15">
                  <c:v>8.29</c:v>
                </c:pt>
                <c:pt idx="16">
                  <c:v>8.39</c:v>
                </c:pt>
                <c:pt idx="17">
                  <c:v>8.49</c:v>
                </c:pt>
                <c:pt idx="18">
                  <c:v>8.59</c:v>
                </c:pt>
                <c:pt idx="19">
                  <c:v>8.69</c:v>
                </c:pt>
                <c:pt idx="20">
                  <c:v>8.79</c:v>
                </c:pt>
                <c:pt idx="21">
                  <c:v>8.89</c:v>
                </c:pt>
                <c:pt idx="22">
                  <c:v>8.99</c:v>
                </c:pt>
                <c:pt idx="23">
                  <c:v>9.09</c:v>
                </c:pt>
                <c:pt idx="24">
                  <c:v>9.19</c:v>
                </c:pt>
                <c:pt idx="25">
                  <c:v>9.29</c:v>
                </c:pt>
                <c:pt idx="26">
                  <c:v>9.39</c:v>
                </c:pt>
                <c:pt idx="27">
                  <c:v>9.49</c:v>
                </c:pt>
                <c:pt idx="28">
                  <c:v>9.59</c:v>
                </c:pt>
              </c:strCache>
            </c:strRef>
          </c:cat>
          <c:val>
            <c:numRef>
              <c:f>Sheet1!$C$2:$C$30</c:f>
              <c:numCache>
                <c:formatCode>General</c:formatCode>
                <c:ptCount val="29"/>
                <c:pt idx="0">
                  <c:v>113.00691252863591</c:v>
                </c:pt>
                <c:pt idx="1">
                  <c:v>110.78604571173459</c:v>
                </c:pt>
                <c:pt idx="2">
                  <c:v>108.7558693163216</c:v>
                </c:pt>
                <c:pt idx="3">
                  <c:v>106.89801657146485</c:v>
                </c:pt>
                <c:pt idx="4">
                  <c:v>105.19568990783448</c:v>
                </c:pt>
                <c:pt idx="5">
                  <c:v>105.64228059508305</c:v>
                </c:pt>
                <c:pt idx="6">
                  <c:v>106.07690414109842</c:v>
                </c:pt>
                <c:pt idx="7">
                  <c:v>106.49987184956784</c:v>
                </c:pt>
                <c:pt idx="8">
                  <c:v>106.91148576908536</c:v>
                </c:pt>
                <c:pt idx="9">
                  <c:v>105.12226036231327</c:v>
                </c:pt>
                <c:pt idx="10">
                  <c:v>103.37144585323897</c:v>
                </c:pt>
                <c:pt idx="11">
                  <c:v>101.66307170363909</c:v>
                </c:pt>
                <c:pt idx="12">
                  <c:v>100.0</c:v>
                </c:pt>
                <c:pt idx="13">
                  <c:v>98.38406624398057</c:v>
                </c:pt>
                <c:pt idx="14">
                  <c:v>97.68748216355885</c:v>
                </c:pt>
                <c:pt idx="15">
                  <c:v>97.01838063585242</c:v>
                </c:pt>
                <c:pt idx="16">
                  <c:v>96.37548746005781</c:v>
                </c:pt>
                <c:pt idx="17">
                  <c:v>95.75757842539036</c:v>
                </c:pt>
                <c:pt idx="18">
                  <c:v>90.22963539078461</c:v>
                </c:pt>
                <c:pt idx="19">
                  <c:v>85.41332333175409</c:v>
                </c:pt>
                <c:pt idx="20">
                  <c:v>81.20451084131048</c:v>
                </c:pt>
                <c:pt idx="21">
                  <c:v>77.51288578986828</c:v>
                </c:pt>
                <c:pt idx="22">
                  <c:v>74.26125928222667</c:v>
                </c:pt>
                <c:pt idx="23">
                  <c:v>73.54461210713545</c:v>
                </c:pt>
                <c:pt idx="24">
                  <c:v>72.8449636890568</c:v>
                </c:pt>
                <c:pt idx="25">
                  <c:v>72.16221953335246</c:v>
                </c:pt>
                <c:pt idx="26">
                  <c:v>71.49624658055582</c:v>
                </c:pt>
                <c:pt idx="27">
                  <c:v>70.84687575322106</c:v>
                </c:pt>
                <c:pt idx="28">
                  <c:v>70.2139045415722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0</c:f>
              <c:strCache>
                <c:ptCount val="29"/>
                <c:pt idx="0">
                  <c:v>6.79</c:v>
                </c:pt>
                <c:pt idx="1">
                  <c:v>6.89</c:v>
                </c:pt>
                <c:pt idx="2">
                  <c:v>6.99</c:v>
                </c:pt>
                <c:pt idx="3">
                  <c:v>7.09</c:v>
                </c:pt>
                <c:pt idx="4">
                  <c:v>7.19</c:v>
                </c:pt>
                <c:pt idx="5">
                  <c:v>7.29</c:v>
                </c:pt>
                <c:pt idx="6">
                  <c:v>7.39</c:v>
                </c:pt>
                <c:pt idx="7">
                  <c:v>7.49</c:v>
                </c:pt>
                <c:pt idx="8">
                  <c:v>7.59</c:v>
                </c:pt>
                <c:pt idx="9">
                  <c:v>7.69</c:v>
                </c:pt>
                <c:pt idx="10">
                  <c:v>7.79</c:v>
                </c:pt>
                <c:pt idx="11">
                  <c:v>7.89</c:v>
                </c:pt>
                <c:pt idx="12">
                  <c:v>7.99</c:v>
                </c:pt>
                <c:pt idx="13">
                  <c:v>8.09</c:v>
                </c:pt>
                <c:pt idx="14">
                  <c:v>8.19</c:v>
                </c:pt>
                <c:pt idx="15">
                  <c:v>8.29</c:v>
                </c:pt>
                <c:pt idx="16">
                  <c:v>8.39</c:v>
                </c:pt>
                <c:pt idx="17">
                  <c:v>8.49</c:v>
                </c:pt>
                <c:pt idx="18">
                  <c:v>8.59</c:v>
                </c:pt>
                <c:pt idx="19">
                  <c:v>8.69</c:v>
                </c:pt>
                <c:pt idx="20">
                  <c:v>8.79</c:v>
                </c:pt>
                <c:pt idx="21">
                  <c:v>8.89</c:v>
                </c:pt>
                <c:pt idx="22">
                  <c:v>8.99</c:v>
                </c:pt>
                <c:pt idx="23">
                  <c:v>9.09</c:v>
                </c:pt>
                <c:pt idx="24">
                  <c:v>9.19</c:v>
                </c:pt>
                <c:pt idx="25">
                  <c:v>9.29</c:v>
                </c:pt>
                <c:pt idx="26">
                  <c:v>9.39</c:v>
                </c:pt>
                <c:pt idx="27">
                  <c:v>9.49</c:v>
                </c:pt>
                <c:pt idx="28">
                  <c:v>9.59</c:v>
                </c:pt>
              </c:strCache>
            </c:strRef>
          </c:cat>
          <c:val>
            <c:numRef>
              <c:f>Sheet1!$D$2:$D$30</c:f>
              <c:numCache>
                <c:formatCode>General</c:formatCode>
                <c:ptCount val="29"/>
                <c:pt idx="0">
                  <c:v>99.82033150964082</c:v>
                </c:pt>
                <c:pt idx="1">
                  <c:v>99.10549580040619</c:v>
                </c:pt>
                <c:pt idx="2">
                  <c:v>98.47836776711317</c:v>
                </c:pt>
                <c:pt idx="3">
                  <c:v>97.93180813214614</c:v>
                </c:pt>
                <c:pt idx="4">
                  <c:v>97.45883139563169</c:v>
                </c:pt>
                <c:pt idx="5">
                  <c:v>98.93260770227052</c:v>
                </c:pt>
                <c:pt idx="6">
                  <c:v>100.3755998783721</c:v>
                </c:pt>
                <c:pt idx="7">
                  <c:v>101.78853758193624</c:v>
                </c:pt>
                <c:pt idx="8">
                  <c:v>103.17213018860905</c:v>
                </c:pt>
                <c:pt idx="9">
                  <c:v>102.40084664633638</c:v>
                </c:pt>
                <c:pt idx="10">
                  <c:v>101.61050557319729</c:v>
                </c:pt>
                <c:pt idx="11">
                  <c:v>100.8082387142168</c:v>
                </c:pt>
                <c:pt idx="12">
                  <c:v>100.0</c:v>
                </c:pt>
                <c:pt idx="13">
                  <c:v>99.19065787553576</c:v>
                </c:pt>
                <c:pt idx="14">
                  <c:v>99.26693004558754</c:v>
                </c:pt>
                <c:pt idx="15">
                  <c:v>99.3416065686964</c:v>
                </c:pt>
                <c:pt idx="16">
                  <c:v>99.41506206763383</c:v>
                </c:pt>
                <c:pt idx="17">
                  <c:v>99.48760583274475</c:v>
                </c:pt>
                <c:pt idx="18">
                  <c:v>94.39298974785876</c:v>
                </c:pt>
                <c:pt idx="19">
                  <c:v>89.95461333171428</c:v>
                </c:pt>
                <c:pt idx="20">
                  <c:v>86.0798357328969</c:v>
                </c:pt>
                <c:pt idx="21">
                  <c:v>82.68719312192533</c:v>
                </c:pt>
                <c:pt idx="22">
                  <c:v>79.70629521099066</c:v>
                </c:pt>
                <c:pt idx="23">
                  <c:v>79.41084508582725</c:v>
                </c:pt>
                <c:pt idx="24">
                  <c:v>79.11441415171635</c:v>
                </c:pt>
                <c:pt idx="25">
                  <c:v>78.81784042134349</c:v>
                </c:pt>
                <c:pt idx="26">
                  <c:v>78.52187739019828</c:v>
                </c:pt>
                <c:pt idx="27">
                  <c:v>78.22719790268755</c:v>
                </c:pt>
                <c:pt idx="28">
                  <c:v>77.9343980861920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0</c:f>
              <c:strCache>
                <c:ptCount val="29"/>
                <c:pt idx="0">
                  <c:v>6.79</c:v>
                </c:pt>
                <c:pt idx="1">
                  <c:v>6.89</c:v>
                </c:pt>
                <c:pt idx="2">
                  <c:v>6.99</c:v>
                </c:pt>
                <c:pt idx="3">
                  <c:v>7.09</c:v>
                </c:pt>
                <c:pt idx="4">
                  <c:v>7.19</c:v>
                </c:pt>
                <c:pt idx="5">
                  <c:v>7.29</c:v>
                </c:pt>
                <c:pt idx="6">
                  <c:v>7.39</c:v>
                </c:pt>
                <c:pt idx="7">
                  <c:v>7.49</c:v>
                </c:pt>
                <c:pt idx="8">
                  <c:v>7.59</c:v>
                </c:pt>
                <c:pt idx="9">
                  <c:v>7.69</c:v>
                </c:pt>
                <c:pt idx="10">
                  <c:v>7.79</c:v>
                </c:pt>
                <c:pt idx="11">
                  <c:v>7.89</c:v>
                </c:pt>
                <c:pt idx="12">
                  <c:v>7.99</c:v>
                </c:pt>
                <c:pt idx="13">
                  <c:v>8.09</c:v>
                </c:pt>
                <c:pt idx="14">
                  <c:v>8.19</c:v>
                </c:pt>
                <c:pt idx="15">
                  <c:v>8.29</c:v>
                </c:pt>
                <c:pt idx="16">
                  <c:v>8.39</c:v>
                </c:pt>
                <c:pt idx="17">
                  <c:v>8.49</c:v>
                </c:pt>
                <c:pt idx="18">
                  <c:v>8.59</c:v>
                </c:pt>
                <c:pt idx="19">
                  <c:v>8.69</c:v>
                </c:pt>
                <c:pt idx="20">
                  <c:v>8.79</c:v>
                </c:pt>
                <c:pt idx="21">
                  <c:v>8.89</c:v>
                </c:pt>
                <c:pt idx="22">
                  <c:v>8.99</c:v>
                </c:pt>
                <c:pt idx="23">
                  <c:v>9.09</c:v>
                </c:pt>
                <c:pt idx="24">
                  <c:v>9.19</c:v>
                </c:pt>
                <c:pt idx="25">
                  <c:v>9.29</c:v>
                </c:pt>
                <c:pt idx="26">
                  <c:v>9.39</c:v>
                </c:pt>
                <c:pt idx="27">
                  <c:v>9.49</c:v>
                </c:pt>
                <c:pt idx="28">
                  <c:v>9.59</c:v>
                </c:pt>
              </c:strCache>
            </c:strRef>
          </c:cat>
          <c:val>
            <c:numRef>
              <c:f>Sheet1!$E$2:$E$30</c:f>
              <c:numCache>
                <c:formatCode>General</c:formatCode>
                <c:ptCount val="29"/>
                <c:pt idx="0">
                  <c:v>0.535949365785415</c:v>
                </c:pt>
                <c:pt idx="1">
                  <c:v>0.5426844983574698</c:v>
                </c:pt>
                <c:pt idx="2">
                  <c:v>0.5492269232736718</c:v>
                </c:pt>
                <c:pt idx="3">
                  <c:v>0.555584794595623</c:v>
                </c:pt>
                <c:pt idx="4">
                  <c:v>0.5617658127514558</c:v>
                </c:pt>
                <c:pt idx="5">
                  <c:v>0.567777255649241</c:v>
                </c:pt>
                <c:pt idx="6">
                  <c:v>0.5736260072642715</c:v>
                </c:pt>
                <c:pt idx="7">
                  <c:v>0.5793185839363107</c:v>
                </c:pt>
                <c:pt idx="8">
                  <c:v>0.5848611585880061</c:v>
                </c:pt>
                <c:pt idx="9">
                  <c:v>0.5902595830537019</c:v>
                </c:pt>
                <c:pt idx="10">
                  <c:v>0.5955194086884424</c:v>
                </c:pt>
                <c:pt idx="11">
                  <c:v>0.600645905409755</c:v>
                </c:pt>
                <c:pt idx="12">
                  <c:v>0.6056440793095078</c:v>
                </c:pt>
                <c:pt idx="13">
                  <c:v>0.6105186889595757</c:v>
                </c:pt>
                <c:pt idx="14">
                  <c:v>0.6152742605229508</c:v>
                </c:pt>
                <c:pt idx="15">
                  <c:v>0.6199151017711662</c:v>
                </c:pt>
                <c:pt idx="16">
                  <c:v>0.624445315099281</c:v>
                </c:pt>
                <c:pt idx="17">
                  <c:v>0.6288688096210797</c:v>
                </c:pt>
                <c:pt idx="18">
                  <c:v>0.6331893124194372</c:v>
                </c:pt>
                <c:pt idx="19">
                  <c:v>0.6374103790199042</c:v>
                </c:pt>
                <c:pt idx="20">
                  <c:v>0.6415354031493706</c:v>
                </c:pt>
                <c:pt idx="21">
                  <c:v>0.6455676258361043</c:v>
                </c:pt>
                <c:pt idx="22">
                  <c:v>0.6495101439024433</c:v>
                </c:pt>
                <c:pt idx="23">
                  <c:v>0.653365917896916</c:v>
                </c:pt>
                <c:pt idx="24">
                  <c:v>0.6571377795084838</c:v>
                </c:pt>
                <c:pt idx="25">
                  <c:v>0.6608284385019341</c:v>
                </c:pt>
                <c:pt idx="26">
                  <c:v>0.6644404892101137</c:v>
                </c:pt>
                <c:pt idx="27">
                  <c:v>0.6679764166156972</c:v>
                </c:pt>
                <c:pt idx="28">
                  <c:v>0.67143860205244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avi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Carrefour (16.6%)</c:v>
                </c:pt>
                <c:pt idx="2">
                  <c:v>Stella (16.1%)</c:v>
                </c:pt>
                <c:pt idx="3">
                  <c:v>Jan Niezbedny (20.2%)</c:v>
                </c:pt>
                <c:pt idx="4">
                  <c:v>Anna Zaradna (3.2%)</c:v>
                </c:pt>
                <c:pt idx="5">
                  <c:v>Grosik (1.1%)</c:v>
                </c:pt>
                <c:pt idx="6">
                  <c:v>Vi Go! (2.2%)</c:v>
                </c:pt>
                <c:pt idx="7">
                  <c:v>Paclan (2.9%)</c:v>
                </c:pt>
              </c:strCache>
            </c:strRef>
          </c:cat>
          <c:val>
            <c:numRef>
              <c:f>Sheet1!$B$2:$B$9</c:f>
              <c:numCache>
                <c:formatCode>General</c:formatCode>
                <c:ptCount val="8"/>
                <c:pt idx="0">
                  <c:v>0.24845771064488287</c:v>
                </c:pt>
                <c:pt idx="1">
                  <c:v>0.2221819518416488</c:v>
                </c:pt>
                <c:pt idx="2">
                  <c:v>0.2136340804612019</c:v>
                </c:pt>
                <c:pt idx="3">
                  <c:v>0.19780146793226155</c:v>
                </c:pt>
                <c:pt idx="4">
                  <c:v>0.042224071550886345</c:v>
                </c:pt>
                <c:pt idx="5">
                  <c:v>0.03036455854343101</c:v>
                </c:pt>
                <c:pt idx="6">
                  <c:v>0.025340443099731356</c:v>
                </c:pt>
                <c:pt idx="7">
                  <c:v>0.01999571592587904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B$2:$B$32</c:f>
              <c:numCache>
                <c:formatCode>General</c:formatCode>
                <c:ptCount val="31"/>
                <c:pt idx="0">
                  <c:v>122.39750979580539</c:v>
                </c:pt>
                <c:pt idx="1">
                  <c:v>121.48172138732927</c:v>
                </c:pt>
                <c:pt idx="2">
                  <c:v>120.57874862848277</c:v>
                </c:pt>
                <c:pt idx="3">
                  <c:v>119.68830441725646</c:v>
                </c:pt>
                <c:pt idx="4">
                  <c:v>118.81011104569143</c:v>
                </c:pt>
                <c:pt idx="5">
                  <c:v>115.74468634978683</c:v>
                </c:pt>
                <c:pt idx="6">
                  <c:v>112.79597428074001</c:v>
                </c:pt>
                <c:pt idx="7">
                  <c:v>109.9611708302073</c:v>
                </c:pt>
                <c:pt idx="8">
                  <c:v>107.23709653523323</c:v>
                </c:pt>
                <c:pt idx="9">
                  <c:v>104.62030379161651</c:v>
                </c:pt>
                <c:pt idx="10">
                  <c:v>103.41694447800039</c:v>
                </c:pt>
                <c:pt idx="11">
                  <c:v>102.24694044263765</c:v>
                </c:pt>
                <c:pt idx="12">
                  <c:v>101.10850243242864</c:v>
                </c:pt>
                <c:pt idx="13">
                  <c:v>100.0</c:v>
                </c:pt>
                <c:pt idx="14">
                  <c:v>94.97868917306553</c:v>
                </c:pt>
                <c:pt idx="15">
                  <c:v>90.52985615508847</c:v>
                </c:pt>
                <c:pt idx="16">
                  <c:v>86.56875938646341</c:v>
                </c:pt>
                <c:pt idx="17">
                  <c:v>83.02344959800297</c:v>
                </c:pt>
                <c:pt idx="18">
                  <c:v>79.8331160897873</c:v>
                </c:pt>
                <c:pt idx="19">
                  <c:v>78.16014999441583</c:v>
                </c:pt>
                <c:pt idx="20">
                  <c:v>76.53677571921966</c:v>
                </c:pt>
                <c:pt idx="21">
                  <c:v>74.96177696062311</c:v>
                </c:pt>
                <c:pt idx="22">
                  <c:v>73.4338819392866</c:v>
                </c:pt>
                <c:pt idx="23">
                  <c:v>71.9517705171797</c:v>
                </c:pt>
                <c:pt idx="24">
                  <c:v>70.51408337588543</c:v>
                </c:pt>
                <c:pt idx="25">
                  <c:v>69.6742849301981</c:v>
                </c:pt>
                <c:pt idx="26">
                  <c:v>68.85051525474265</c:v>
                </c:pt>
                <c:pt idx="27">
                  <c:v>68.04220293720209</c:v>
                </c:pt>
                <c:pt idx="28">
                  <c:v>67.24881736230537</c:v>
                </c:pt>
                <c:pt idx="29">
                  <c:v>66.40229174022451</c:v>
                </c:pt>
                <c:pt idx="30">
                  <c:v>65.57751923191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C$2:$C$32</c:f>
              <c:numCache>
                <c:formatCode>General</c:formatCode>
                <c:ptCount val="31"/>
                <c:pt idx="0">
                  <c:v>103.96914015833201</c:v>
                </c:pt>
                <c:pt idx="1">
                  <c:v>104.60085610121995</c:v>
                </c:pt>
                <c:pt idx="2">
                  <c:v>105.22217605237994</c:v>
                </c:pt>
                <c:pt idx="3">
                  <c:v>105.83330722732602</c:v>
                </c:pt>
                <c:pt idx="4">
                  <c:v>106.43445132912488</c:v>
                </c:pt>
                <c:pt idx="5">
                  <c:v>105.0233242240898</c:v>
                </c:pt>
                <c:pt idx="6">
                  <c:v>103.6495938393795</c:v>
                </c:pt>
                <c:pt idx="7">
                  <c:v>102.31460599964205</c:v>
                </c:pt>
                <c:pt idx="8">
                  <c:v>101.01922639275129</c:v>
                </c:pt>
                <c:pt idx="9">
                  <c:v>99.76392240591792</c:v>
                </c:pt>
                <c:pt idx="10">
                  <c:v>99.81665023057619</c:v>
                </c:pt>
                <c:pt idx="11">
                  <c:v>99.87396278645532</c:v>
                </c:pt>
                <c:pt idx="12">
                  <c:v>99.93525561356776</c:v>
                </c:pt>
                <c:pt idx="13">
                  <c:v>100.0</c:v>
                </c:pt>
                <c:pt idx="14">
                  <c:v>96.09602067654527</c:v>
                </c:pt>
                <c:pt idx="15">
                  <c:v>92.6588759179436</c:v>
                </c:pt>
                <c:pt idx="16">
                  <c:v>89.6213701832986</c:v>
                </c:pt>
                <c:pt idx="17">
                  <c:v>86.92560282012613</c:v>
                </c:pt>
                <c:pt idx="18">
                  <c:v>84.52200707161566</c:v>
                </c:pt>
                <c:pt idx="19">
                  <c:v>83.66192124823604</c:v>
                </c:pt>
                <c:pt idx="20">
                  <c:v>82.81666261463421</c:v>
                </c:pt>
                <c:pt idx="21">
                  <c:v>81.98661753065842</c:v>
                </c:pt>
                <c:pt idx="22">
                  <c:v>81.17205582724975</c:v>
                </c:pt>
                <c:pt idx="23">
                  <c:v>80.3731355131844</c:v>
                </c:pt>
                <c:pt idx="24">
                  <c:v>79.58991027096664</c:v>
                </c:pt>
                <c:pt idx="25">
                  <c:v>79.45278787470357</c:v>
                </c:pt>
                <c:pt idx="26">
                  <c:v>79.31462734892322</c:v>
                </c:pt>
                <c:pt idx="27">
                  <c:v>79.1753221942879</c:v>
                </c:pt>
                <c:pt idx="28">
                  <c:v>79.03478733800317</c:v>
                </c:pt>
                <c:pt idx="29">
                  <c:v>78.81406636248566</c:v>
                </c:pt>
                <c:pt idx="30">
                  <c:v>78.5996930226112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D$2:$D$32</c:f>
              <c:numCache>
                <c:formatCode>General</c:formatCode>
                <c:ptCount val="31"/>
                <c:pt idx="0">
                  <c:v>72.64128520234594</c:v>
                </c:pt>
                <c:pt idx="1">
                  <c:v>75.88599229786432</c:v>
                </c:pt>
                <c:pt idx="2">
                  <c:v>79.08243435221307</c:v>
                </c:pt>
                <c:pt idx="3">
                  <c:v>82.23159423568978</c:v>
                </c:pt>
                <c:pt idx="4">
                  <c:v>85.33442653422064</c:v>
                </c:pt>
                <c:pt idx="5">
                  <c:v>86.75832856806238</c:v>
                </c:pt>
                <c:pt idx="6">
                  <c:v>88.08207848052525</c:v>
                </c:pt>
                <c:pt idx="7">
                  <c:v>89.31423447828614</c:v>
                </c:pt>
                <c:pt idx="8">
                  <c:v>90.46270624487835</c:v>
                </c:pt>
                <c:pt idx="9">
                  <c:v>91.53478731179209</c:v>
                </c:pt>
                <c:pt idx="10">
                  <c:v>93.71521190451298</c:v>
                </c:pt>
                <c:pt idx="11">
                  <c:v>95.85198276728373</c:v>
                </c:pt>
                <c:pt idx="12">
                  <c:v>97.94647498645044</c:v>
                </c:pt>
                <c:pt idx="13">
                  <c:v>100.0</c:v>
                </c:pt>
                <c:pt idx="14">
                  <c:v>97.96628776024096</c:v>
                </c:pt>
                <c:pt idx="15">
                  <c:v>96.22418844416006</c:v>
                </c:pt>
                <c:pt idx="16">
                  <c:v>94.73522673389434</c:v>
                </c:pt>
                <c:pt idx="17">
                  <c:v>93.46462002045843</c:v>
                </c:pt>
                <c:pt idx="18">
                  <c:v>92.38138455989662</c:v>
                </c:pt>
                <c:pt idx="19">
                  <c:v>92.895634527191</c:v>
                </c:pt>
                <c:pt idx="20">
                  <c:v>93.36575667114752</c:v>
                </c:pt>
                <c:pt idx="21">
                  <c:v>93.79486510086386</c:v>
                </c:pt>
                <c:pt idx="22">
                  <c:v>94.18585259378537</c:v>
                </c:pt>
                <c:pt idx="23">
                  <c:v>94.54139112172463</c:v>
                </c:pt>
                <c:pt idx="24">
                  <c:v>94.86393648412303</c:v>
                </c:pt>
                <c:pt idx="25">
                  <c:v>95.91789853510201</c:v>
                </c:pt>
                <c:pt idx="26">
                  <c:v>96.94193597889826</c:v>
                </c:pt>
                <c:pt idx="27">
                  <c:v>97.93672513377739</c:v>
                </c:pt>
                <c:pt idx="28">
                  <c:v>98.90293106291543</c:v>
                </c:pt>
                <c:pt idx="29">
                  <c:v>99.73854932571622</c:v>
                </c:pt>
                <c:pt idx="30">
                  <c:v>100.5545748678427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E$2:$E$32</c:f>
              <c:numCache>
                <c:formatCode>General</c:formatCode>
                <c:ptCount val="31"/>
                <c:pt idx="0">
                  <c:v>0.2650701873515172</c:v>
                </c:pt>
                <c:pt idx="1">
                  <c:v>0.27515152908880747</c:v>
                </c:pt>
                <c:pt idx="2">
                  <c:v>0.2849600334313138</c:v>
                </c:pt>
                <c:pt idx="3">
                  <c:v>0.29450662844558173</c:v>
                </c:pt>
                <c:pt idx="4">
                  <c:v>0.303801666278973</c:v>
                </c:pt>
                <c:pt idx="5">
                  <c:v>0.31285496060564455</c:v>
                </c:pt>
                <c:pt idx="6">
                  <c:v>0.321675821188371</c:v>
                </c:pt>
                <c:pt idx="7">
                  <c:v>0.3302730858120922</c:v>
                </c:pt>
                <c:pt idx="8">
                  <c:v>0.3386551498194502</c:v>
                </c:pt>
                <c:pt idx="9">
                  <c:v>0.34682999345579824</c:v>
                </c:pt>
                <c:pt idx="10">
                  <c:v>0.35480520721091663</c:v>
                </c:pt>
                <c:pt idx="11">
                  <c:v>0.362588015326587</c:v>
                </c:pt>
                <c:pt idx="12">
                  <c:v>0.3701852976230523</c:v>
                </c:pt>
                <c:pt idx="13">
                  <c:v>0.37760360978296914</c:v>
                </c:pt>
                <c:pt idx="14">
                  <c:v>0.38484920221855745</c:v>
                </c:pt>
                <c:pt idx="15">
                  <c:v>0.39192803763606526</c:v>
                </c:pt>
                <c:pt idx="16">
                  <c:v>0.3988458074012977</c:v>
                </c:pt>
                <c:pt idx="17">
                  <c:v>0.4056079468006083</c:v>
                </c:pt>
                <c:pt idx="18">
                  <c:v>0.4122196492833601</c:v>
                </c:pt>
                <c:pt idx="19">
                  <c:v>0.4186858797642912</c:v>
                </c:pt>
                <c:pt idx="20">
                  <c:v>0.4250113870573893</c:v>
                </c:pt>
                <c:pt idx="21">
                  <c:v>0.4312007155067178</c:v>
                </c:pt>
                <c:pt idx="22">
                  <c:v>0.4372582158740584</c:v>
                </c:pt>
                <c:pt idx="23">
                  <c:v>0.4431880555381883</c:v>
                </c:pt>
                <c:pt idx="24">
                  <c:v>0.4489942280560383</c:v>
                </c:pt>
                <c:pt idx="25">
                  <c:v>0.4546805621318275</c:v>
                </c:pt>
                <c:pt idx="26">
                  <c:v>0.4602507300365075</c:v>
                </c:pt>
                <c:pt idx="27">
                  <c:v>0.46570825551642153</c:v>
                </c:pt>
                <c:pt idx="28">
                  <c:v>0.4710565212269677</c:v>
                </c:pt>
                <c:pt idx="29">
                  <c:v>0.47629877572422263</c:v>
                </c:pt>
                <c:pt idx="30">
                  <c:v>0.4814381400448880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B$2:$B$32</c:f>
              <c:numCache>
                <c:formatCode>General</c:formatCode>
                <c:ptCount val="31"/>
                <c:pt idx="0">
                  <c:v>119.12637716703236</c:v>
                </c:pt>
                <c:pt idx="1">
                  <c:v>118.18704903374899</c:v>
                </c:pt>
                <c:pt idx="2">
                  <c:v>117.26245173369662</c:v>
                </c:pt>
                <c:pt idx="3">
                  <c:v>116.35222716177707</c:v>
                </c:pt>
                <c:pt idx="4">
                  <c:v>115.45602818015348</c:v>
                </c:pt>
                <c:pt idx="5">
                  <c:v>113.01792423296742</c:v>
                </c:pt>
                <c:pt idx="6">
                  <c:v>110.65726181438369</c:v>
                </c:pt>
                <c:pt idx="7">
                  <c:v>108.37288945929684</c:v>
                </c:pt>
                <c:pt idx="8">
                  <c:v>106.16336863424087</c:v>
                </c:pt>
                <c:pt idx="9">
                  <c:v>104.02701606407616</c:v>
                </c:pt>
                <c:pt idx="10">
                  <c:v>102.98388683817372</c:v>
                </c:pt>
                <c:pt idx="11">
                  <c:v>101.96577454615483</c:v>
                </c:pt>
                <c:pt idx="12">
                  <c:v>100.97150593328993</c:v>
                </c:pt>
                <c:pt idx="13">
                  <c:v>100.0</c:v>
                </c:pt>
                <c:pt idx="14">
                  <c:v>94.64334228043347</c:v>
                </c:pt>
                <c:pt idx="15">
                  <c:v>89.9221789005689</c:v>
                </c:pt>
                <c:pt idx="16">
                  <c:v>85.7411027973598</c:v>
                </c:pt>
                <c:pt idx="17">
                  <c:v>82.01803510798946</c:v>
                </c:pt>
                <c:pt idx="18">
                  <c:v>78.68352284422258</c:v>
                </c:pt>
                <c:pt idx="19">
                  <c:v>77.10780320396978</c:v>
                </c:pt>
                <c:pt idx="20">
                  <c:v>75.570656767479</c:v>
                </c:pt>
                <c:pt idx="21">
                  <c:v>74.07155540878297</c:v>
                </c:pt>
                <c:pt idx="22">
                  <c:v>72.61002931523574</c:v>
                </c:pt>
                <c:pt idx="23">
                  <c:v>71.1856428737311</c:v>
                </c:pt>
                <c:pt idx="24">
                  <c:v>69.79797027223643</c:v>
                </c:pt>
                <c:pt idx="25">
                  <c:v>69.0561019292553</c:v>
                </c:pt>
                <c:pt idx="26">
                  <c:v>68.32692877105971</c:v>
                </c:pt>
                <c:pt idx="27">
                  <c:v>67.61001991907463</c:v>
                </c:pt>
                <c:pt idx="28">
                  <c:v>66.90497442245227</c:v>
                </c:pt>
                <c:pt idx="29">
                  <c:v>66.03678866190391</c:v>
                </c:pt>
                <c:pt idx="30">
                  <c:v>65.191503093029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C$2:$C$32</c:f>
              <c:numCache>
                <c:formatCode>General</c:formatCode>
                <c:ptCount val="31"/>
                <c:pt idx="0">
                  <c:v>101.25030043713063</c:v>
                </c:pt>
                <c:pt idx="1">
                  <c:v>101.82034591324857</c:v>
                </c:pt>
                <c:pt idx="2">
                  <c:v>102.38114481947751</c:v>
                </c:pt>
                <c:pt idx="3">
                  <c:v>102.93290789500216</c:v>
                </c:pt>
                <c:pt idx="4">
                  <c:v>103.47583844830193</c:v>
                </c:pt>
                <c:pt idx="5">
                  <c:v>102.58844067740456</c:v>
                </c:pt>
                <c:pt idx="6">
                  <c:v>101.7169141743461</c:v>
                </c:pt>
                <c:pt idx="7">
                  <c:v>100.8628187215387</c:v>
                </c:pt>
                <c:pt idx="8">
                  <c:v>100.0273889990261</c:v>
                </c:pt>
                <c:pt idx="9">
                  <c:v>99.21155905714546</c:v>
                </c:pt>
                <c:pt idx="10">
                  <c:v>99.40871920460292</c:v>
                </c:pt>
                <c:pt idx="11">
                  <c:v>99.60602961541554</c:v>
                </c:pt>
                <c:pt idx="12">
                  <c:v>99.80320554806184</c:v>
                </c:pt>
                <c:pt idx="13">
                  <c:v>100.0</c:v>
                </c:pt>
                <c:pt idx="14">
                  <c:v>95.76969911470337</c:v>
                </c:pt>
                <c:pt idx="15">
                  <c:v>92.05963562422053</c:v>
                </c:pt>
                <c:pt idx="16">
                  <c:v>88.79452080004255</c:v>
                </c:pt>
                <c:pt idx="17">
                  <c:v>85.90827441748964</c:v>
                </c:pt>
                <c:pt idx="18">
                  <c:v>83.34412279037426</c:v>
                </c:pt>
                <c:pt idx="19">
                  <c:v>82.57323611866414</c:v>
                </c:pt>
                <c:pt idx="20">
                  <c:v>81.80756895147078</c:v>
                </c:pt>
                <c:pt idx="21">
                  <c:v>81.0478756096731</c:v>
                </c:pt>
                <c:pt idx="22">
                  <c:v>80.29495023390058</c:v>
                </c:pt>
                <c:pt idx="23">
                  <c:v>79.54960347243004</c:v>
                </c:pt>
                <c:pt idx="24">
                  <c:v>78.81263717473205</c:v>
                </c:pt>
                <c:pt idx="25">
                  <c:v>78.77634669491256</c:v>
                </c:pt>
                <c:pt idx="26">
                  <c:v>78.73748721961053</c:v>
                </c:pt>
                <c:pt idx="27">
                  <c:v>78.69599956299513</c:v>
                </c:pt>
                <c:pt idx="28">
                  <c:v>78.65183972080119</c:v>
                </c:pt>
                <c:pt idx="29">
                  <c:v>78.40063354877967</c:v>
                </c:pt>
                <c:pt idx="30">
                  <c:v>78.15664151005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D$2:$D$32</c:f>
              <c:numCache>
                <c:formatCode>General</c:formatCode>
                <c:ptCount val="31"/>
                <c:pt idx="0">
                  <c:v>66.85226024497761</c:v>
                </c:pt>
                <c:pt idx="1">
                  <c:v>70.29719469956672</c:v>
                </c:pt>
                <c:pt idx="2">
                  <c:v>73.68917998673608</c:v>
                </c:pt>
                <c:pt idx="3">
                  <c:v>77.02942325382631</c:v>
                </c:pt>
                <c:pt idx="4">
                  <c:v>80.31909299865548</c:v>
                </c:pt>
                <c:pt idx="5">
                  <c:v>82.44676300975313</c:v>
                </c:pt>
                <c:pt idx="6">
                  <c:v>84.47040385852529</c:v>
                </c:pt>
                <c:pt idx="7">
                  <c:v>86.39671789311181</c:v>
                </c:pt>
                <c:pt idx="8">
                  <c:v>88.23203787232443</c:v>
                </c:pt>
                <c:pt idx="9">
                  <c:v>89.98231333652703</c:v>
                </c:pt>
                <c:pt idx="10">
                  <c:v>92.55494421315866</c:v>
                </c:pt>
                <c:pt idx="11">
                  <c:v>95.08120624860851</c:v>
                </c:pt>
                <c:pt idx="12">
                  <c:v>97.5624594166272</c:v>
                </c:pt>
                <c:pt idx="13">
                  <c:v>100.0</c:v>
                </c:pt>
                <c:pt idx="14">
                  <c:v>97.88418324719575</c:v>
                </c:pt>
                <c:pt idx="15">
                  <c:v>96.07847530326</c:v>
                </c:pt>
                <c:pt idx="16">
                  <c:v>94.54344052259829</c:v>
                </c:pt>
                <c:pt idx="17">
                  <c:v>93.24164155423107</c:v>
                </c:pt>
                <c:pt idx="18">
                  <c:v>92.13910708937803</c:v>
                </c:pt>
                <c:pt idx="19">
                  <c:v>92.91403014622264</c:v>
                </c:pt>
                <c:pt idx="20">
                  <c:v>93.63032971747181</c:v>
                </c:pt>
                <c:pt idx="21">
                  <c:v>94.29119770514393</c:v>
                </c:pt>
                <c:pt idx="22">
                  <c:v>94.899835329424</c:v>
                </c:pt>
                <c:pt idx="23">
                  <c:v>95.45943042971385</c:v>
                </c:pt>
                <c:pt idx="24">
                  <c:v>95.97312949750719</c:v>
                </c:pt>
                <c:pt idx="25">
                  <c:v>97.29646939668456</c:v>
                </c:pt>
                <c:pt idx="26">
                  <c:v>98.58812840348247</c:v>
                </c:pt>
                <c:pt idx="27">
                  <c:v>99.84874426312456</c:v>
                </c:pt>
                <c:pt idx="28">
                  <c:v>101.07894229124679</c:v>
                </c:pt>
                <c:pt idx="29">
                  <c:v>102.00916185832733</c:v>
                </c:pt>
                <c:pt idx="30">
                  <c:v>102.916834558418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E$2:$E$32</c:f>
              <c:numCache>
                <c:formatCode>General</c:formatCode>
                <c:ptCount val="31"/>
                <c:pt idx="0">
                  <c:v>0.23280125269995222</c:v>
                </c:pt>
                <c:pt idx="1">
                  <c:v>0.24332524100310776</c:v>
                </c:pt>
                <c:pt idx="2">
                  <c:v>0.25356441230211835</c:v>
                </c:pt>
                <c:pt idx="3">
                  <c:v>0.26353017448767074</c:v>
                </c:pt>
                <c:pt idx="4">
                  <c:v>0.2732333342440913</c:v>
                </c:pt>
                <c:pt idx="5">
                  <c:v>0.28268413613948695</c:v>
                </c:pt>
                <c:pt idx="6">
                  <c:v>0.2918922987050906</c:v>
                </c:pt>
                <c:pt idx="7">
                  <c:v>0.30086704777093226</c:v>
                </c:pt>
                <c:pt idx="8">
                  <c:v>0.3096171472982048</c:v>
                </c:pt>
                <c:pt idx="9">
                  <c:v>0.31815092792492633</c:v>
                </c:pt>
                <c:pt idx="10">
                  <c:v>0.32647631342034833</c:v>
                </c:pt>
                <c:pt idx="11">
                  <c:v>0.33460084522468697</c:v>
                </c:pt>
                <c:pt idx="12">
                  <c:v>0.34253170523392773</c:v>
                </c:pt>
                <c:pt idx="13">
                  <c:v>0.35027573697439973</c:v>
                </c:pt>
                <c:pt idx="14">
                  <c:v>0.35783946529832983</c:v>
                </c:pt>
                <c:pt idx="15">
                  <c:v>0.3652291147195229</c:v>
                </c:pt>
                <c:pt idx="16">
                  <c:v>0.37245062649745797</c:v>
                </c:pt>
                <c:pt idx="17">
                  <c:v>0.37950967456835233</c:v>
                </c:pt>
                <c:pt idx="18">
                  <c:v>0.386411680412976</c:v>
                </c:pt>
                <c:pt idx="19">
                  <c:v>0.3931618269430861</c:v>
                </c:pt>
                <c:pt idx="20">
                  <c:v>0.39976507148124635</c:v>
                </c:pt>
                <c:pt idx="21">
                  <c:v>0.406226157902331</c:v>
                </c:pt>
                <c:pt idx="22">
                  <c:v>0.4125496279992178</c:v>
                </c:pt>
                <c:pt idx="23">
                  <c:v>0.41873983212988963</c:v>
                </c:pt>
                <c:pt idx="24">
                  <c:v>0.4248009391983998</c:v>
                </c:pt>
                <c:pt idx="25">
                  <c:v>0.4307369460178178</c:v>
                </c:pt>
                <c:pt idx="26">
                  <c:v>0.4365516860993521</c:v>
                </c:pt>
                <c:pt idx="27">
                  <c:v>0.44224883790825636</c:v>
                </c:pt>
                <c:pt idx="28">
                  <c:v>0.4478319326238893</c:v>
                </c:pt>
                <c:pt idx="29">
                  <c:v>0.45330436143832037</c:v>
                </c:pt>
                <c:pt idx="30">
                  <c:v>0.45866938242518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B$2:$B$32</c:f>
              <c:numCache>
                <c:formatCode>General</c:formatCode>
                <c:ptCount val="31"/>
                <c:pt idx="0">
                  <c:v>130.50490751342411</c:v>
                </c:pt>
                <c:pt idx="1">
                  <c:v>128.76733506924006</c:v>
                </c:pt>
                <c:pt idx="2">
                  <c:v>127.07198477579294</c:v>
                </c:pt>
                <c:pt idx="3">
                  <c:v>125.41750119898323</c:v>
                </c:pt>
                <c:pt idx="4">
                  <c:v>123.80257289569873</c:v>
                </c:pt>
                <c:pt idx="5">
                  <c:v>121.55133574610382</c:v>
                </c:pt>
                <c:pt idx="6">
                  <c:v>119.41144735003206</c:v>
                </c:pt>
                <c:pt idx="7">
                  <c:v>117.37389795565277</c:v>
                </c:pt>
                <c:pt idx="8">
                  <c:v>115.43015042402811</c:v>
                </c:pt>
                <c:pt idx="9">
                  <c:v>113.57234372164203</c:v>
                </c:pt>
                <c:pt idx="10">
                  <c:v>109.81465458127022</c:v>
                </c:pt>
                <c:pt idx="11">
                  <c:v>106.31314150578058</c:v>
                </c:pt>
                <c:pt idx="12">
                  <c:v>103.04793407252488</c:v>
                </c:pt>
                <c:pt idx="13">
                  <c:v>100.0</c:v>
                </c:pt>
                <c:pt idx="14">
                  <c:v>98.20118929133999</c:v>
                </c:pt>
                <c:pt idx="15">
                  <c:v>96.52687853585611</c:v>
                </c:pt>
                <c:pt idx="16">
                  <c:v>94.9613058056249</c:v>
                </c:pt>
                <c:pt idx="17">
                  <c:v>93.49145726905383</c:v>
                </c:pt>
                <c:pt idx="18">
                  <c:v>92.10649082694403</c:v>
                </c:pt>
                <c:pt idx="19">
                  <c:v>91.21438844826812</c:v>
                </c:pt>
                <c:pt idx="20">
                  <c:v>90.33614324732923</c:v>
                </c:pt>
                <c:pt idx="21">
                  <c:v>89.47141841178518</c:v>
                </c:pt>
                <c:pt idx="22">
                  <c:v>88.61988955965484</c:v>
                </c:pt>
                <c:pt idx="23">
                  <c:v>87.78124413649806</c:v>
                </c:pt>
                <c:pt idx="24">
                  <c:v>86.95518083838877</c:v>
                </c:pt>
                <c:pt idx="25">
                  <c:v>84.32502188546331</c:v>
                </c:pt>
                <c:pt idx="26">
                  <c:v>81.81921609635654</c:v>
                </c:pt>
                <c:pt idx="27">
                  <c:v>79.4315107733436</c:v>
                </c:pt>
                <c:pt idx="28">
                  <c:v>77.15602534544301</c:v>
                </c:pt>
                <c:pt idx="29">
                  <c:v>76.37178611861158</c:v>
                </c:pt>
                <c:pt idx="30">
                  <c:v>75.60281704585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C$2:$C$32</c:f>
              <c:numCache>
                <c:formatCode>General</c:formatCode>
                <c:ptCount val="31"/>
                <c:pt idx="0">
                  <c:v>110.58643401289785</c:v>
                </c:pt>
                <c:pt idx="1">
                  <c:v>110.62587192737736</c:v>
                </c:pt>
                <c:pt idx="2">
                  <c:v>110.66126605711999</c:v>
                </c:pt>
                <c:pt idx="3">
                  <c:v>110.69290851977249</c:v>
                </c:pt>
                <c:pt idx="4">
                  <c:v>110.72106700094402</c:v>
                </c:pt>
                <c:pt idx="5">
                  <c:v>110.13359534086781</c:v>
                </c:pt>
                <c:pt idx="6">
                  <c:v>109.59561548419347</c:v>
                </c:pt>
                <c:pt idx="7">
                  <c:v>109.10265299335077</c:v>
                </c:pt>
                <c:pt idx="8">
                  <c:v>108.65025784873868</c:v>
                </c:pt>
                <c:pt idx="9">
                  <c:v>108.23422605708157</c:v>
                </c:pt>
                <c:pt idx="10">
                  <c:v>105.94341054884558</c:v>
                </c:pt>
                <c:pt idx="11">
                  <c:v>103.81453323050147</c:v>
                </c:pt>
                <c:pt idx="12">
                  <c:v>101.83696887155689</c:v>
                </c:pt>
                <c:pt idx="13">
                  <c:v>100.0</c:v>
                </c:pt>
                <c:pt idx="14">
                  <c:v>99.35513915984971</c:v>
                </c:pt>
                <c:pt idx="15">
                  <c:v>98.79539143003267</c:v>
                </c:pt>
                <c:pt idx="16">
                  <c:v>98.30883344795812</c:v>
                </c:pt>
                <c:pt idx="17">
                  <c:v>97.88567710372294</c:v>
                </c:pt>
                <c:pt idx="18">
                  <c:v>97.51782105459397</c:v>
                </c:pt>
                <c:pt idx="19">
                  <c:v>97.64444887709907</c:v>
                </c:pt>
                <c:pt idx="20">
                  <c:v>97.76511406929752</c:v>
                </c:pt>
                <c:pt idx="21">
                  <c:v>97.87993711371702</c:v>
                </c:pt>
                <c:pt idx="22">
                  <c:v>97.98903637315635</c:v>
                </c:pt>
                <c:pt idx="23">
                  <c:v>98.09252814911163</c:v>
                </c:pt>
                <c:pt idx="24">
                  <c:v>98.1905267267364</c:v>
                </c:pt>
                <c:pt idx="25">
                  <c:v>96.21185142842874</c:v>
                </c:pt>
                <c:pt idx="26">
                  <c:v>94.31475089807255</c:v>
                </c:pt>
                <c:pt idx="27">
                  <c:v>92.49631822385977</c:v>
                </c:pt>
                <c:pt idx="28">
                  <c:v>90.7537916909793</c:v>
                </c:pt>
                <c:pt idx="29">
                  <c:v>90.72847387772461</c:v>
                </c:pt>
                <c:pt idx="30">
                  <c:v>90.7030504492411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D$2:$D$32</c:f>
              <c:numCache>
                <c:formatCode>General</c:formatCode>
                <c:ptCount val="31"/>
                <c:pt idx="0">
                  <c:v>93.7932231297138</c:v>
                </c:pt>
                <c:pt idx="1">
                  <c:v>95.33029704201394</c:v>
                </c:pt>
                <c:pt idx="2">
                  <c:v>96.82437669345286</c:v>
                </c:pt>
                <c:pt idx="3">
                  <c:v>98.27713909904101</c:v>
                </c:pt>
                <c:pt idx="4">
                  <c:v>99.69017948424192</c:v>
                </c:pt>
                <c:pt idx="5">
                  <c:v>100.50754432319115</c:v>
                </c:pt>
                <c:pt idx="6">
                  <c:v>101.32196448833417</c:v>
                </c:pt>
                <c:pt idx="7">
                  <c:v>102.13282849107075</c:v>
                </c:pt>
                <c:pt idx="8">
                  <c:v>102.93916679151025</c:v>
                </c:pt>
                <c:pt idx="9">
                  <c:v>103.73988861114482</c:v>
                </c:pt>
                <c:pt idx="10">
                  <c:v>102.68434642935908</c:v>
                </c:pt>
                <c:pt idx="11">
                  <c:v>101.71119924410172</c:v>
                </c:pt>
                <c:pt idx="12">
                  <c:v>100.81764522720485</c:v>
                </c:pt>
                <c:pt idx="13">
                  <c:v>100.0</c:v>
                </c:pt>
                <c:pt idx="14">
                  <c:v>100.32565323409979</c:v>
                </c:pt>
                <c:pt idx="15">
                  <c:v>100.70338907283629</c:v>
                </c:pt>
                <c:pt idx="16">
                  <c:v>101.12449768140763</c:v>
                </c:pt>
                <c:pt idx="17">
                  <c:v>101.58189234671822</c:v>
                </c:pt>
                <c:pt idx="18">
                  <c:v>102.06976772819247</c:v>
                </c:pt>
                <c:pt idx="19">
                  <c:v>103.05472019648947</c:v>
                </c:pt>
                <c:pt idx="20">
                  <c:v>104.0170327785019</c:v>
                </c:pt>
                <c:pt idx="21">
                  <c:v>104.95720943617388</c:v>
                </c:pt>
                <c:pt idx="22">
                  <c:v>105.87573984836386</c:v>
                </c:pt>
                <c:pt idx="23">
                  <c:v>106.77310002171345</c:v>
                </c:pt>
                <c:pt idx="24">
                  <c:v>107.64975285521479</c:v>
                </c:pt>
                <c:pt idx="25">
                  <c:v>106.21920468645347</c:v>
                </c:pt>
                <c:pt idx="26">
                  <c:v>104.8340839434866</c:v>
                </c:pt>
                <c:pt idx="27">
                  <c:v>103.49432252498059</c:v>
                </c:pt>
                <c:pt idx="28">
                  <c:v>102.19980345693153</c:v>
                </c:pt>
                <c:pt idx="29">
                  <c:v>102.8134769253914</c:v>
                </c:pt>
                <c:pt idx="30">
                  <c:v>103.414104828659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E$2:$E$32</c:f>
              <c:numCache>
                <c:formatCode>General</c:formatCode>
                <c:ptCount val="31"/>
                <c:pt idx="0">
                  <c:v>0.4621027919038303</c:v>
                </c:pt>
                <c:pt idx="1">
                  <c:v>0.46948135442915484</c:v>
                </c:pt>
                <c:pt idx="2">
                  <c:v>0.4766602264937129</c:v>
                </c:pt>
                <c:pt idx="3">
                  <c:v>0.48364740638031234</c:v>
                </c:pt>
                <c:pt idx="4">
                  <c:v>0.4904504708548798</c:v>
                </c:pt>
                <c:pt idx="5">
                  <c:v>0.49707660257328196</c:v>
                </c:pt>
                <c:pt idx="6">
                  <c:v>0.5035326153772192</c:v>
                </c:pt>
                <c:pt idx="7">
                  <c:v>0.5098249776664815</c:v>
                </c:pt>
                <c:pt idx="8">
                  <c:v>0.5159598340160875</c:v>
                </c:pt>
                <c:pt idx="9">
                  <c:v>0.5219430251901778</c:v>
                </c:pt>
                <c:pt idx="10">
                  <c:v>0.5277801066896872</c:v>
                </c:pt>
                <c:pt idx="11">
                  <c:v>0.5334763659576043</c:v>
                </c:pt>
                <c:pt idx="12">
                  <c:v>0.5390368383538188</c:v>
                </c:pt>
                <c:pt idx="13">
                  <c:v>0.5444663220010058</c:v>
                </c:pt>
                <c:pt idx="14">
                  <c:v>0.5497693915935433</c:v>
                </c:pt>
                <c:pt idx="15">
                  <c:v>0.5549504112529965</c:v>
                </c:pt>
                <c:pt idx="16">
                  <c:v>0.5600135465060908</c:v>
                </c:pt>
                <c:pt idx="17">
                  <c:v>0.5649627754542788</c:v>
                </c:pt>
                <c:pt idx="18">
                  <c:v>0.5698018991978353</c:v>
                </c:pt>
                <c:pt idx="19">
                  <c:v>0.5745345515718964</c:v>
                </c:pt>
                <c:pt idx="20">
                  <c:v>0.5791642082468484</c:v>
                </c:pt>
                <c:pt idx="21">
                  <c:v>0.5836941952409621</c:v>
                </c:pt>
                <c:pt idx="22">
                  <c:v>0.5881276968890882</c:v>
                </c:pt>
                <c:pt idx="23">
                  <c:v>0.5924677633075383</c:v>
                </c:pt>
                <c:pt idx="24">
                  <c:v>0.5967173173919227</c:v>
                </c:pt>
                <c:pt idx="25">
                  <c:v>0.6008791613816862</c:v>
                </c:pt>
                <c:pt idx="26">
                  <c:v>0.6049559830223227</c:v>
                </c:pt>
                <c:pt idx="27">
                  <c:v>0.608950361353745</c:v>
                </c:pt>
                <c:pt idx="28">
                  <c:v>0.6128647721510048</c:v>
                </c:pt>
                <c:pt idx="29">
                  <c:v>0.6167015930414805</c:v>
                </c:pt>
                <c:pt idx="30">
                  <c:v>0.620463108320759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B$2:$B$32</c:f>
              <c:numCache>
                <c:formatCode>General</c:formatCode>
                <c:ptCount val="31"/>
                <c:pt idx="0">
                  <c:v>122.38497480527923</c:v>
                </c:pt>
                <c:pt idx="1">
                  <c:v>120.57328227212678</c:v>
                </c:pt>
                <c:pt idx="2">
                  <c:v>118.80364998661163</c:v>
                </c:pt>
                <c:pt idx="3">
                  <c:v>117.07522205285778</c:v>
                </c:pt>
                <c:pt idx="4">
                  <c:v>115.38714407548969</c:v>
                </c:pt>
                <c:pt idx="5">
                  <c:v>113.87733181833819</c:v>
                </c:pt>
                <c:pt idx="6">
                  <c:v>112.4251273713174</c:v>
                </c:pt>
                <c:pt idx="7">
                  <c:v>111.02680314079458</c:v>
                </c:pt>
                <c:pt idx="8">
                  <c:v>109.6788303153843</c:v>
                </c:pt>
                <c:pt idx="9">
                  <c:v>108.37792812401071</c:v>
                </c:pt>
                <c:pt idx="10">
                  <c:v>106.13502673821571</c:v>
                </c:pt>
                <c:pt idx="11">
                  <c:v>103.99554321061547</c:v>
                </c:pt>
                <c:pt idx="12">
                  <c:v>101.95265494789507</c:v>
                </c:pt>
                <c:pt idx="13">
                  <c:v>100.0</c:v>
                </c:pt>
                <c:pt idx="14">
                  <c:v>97.58729208405934</c:v>
                </c:pt>
                <c:pt idx="15">
                  <c:v>95.37783982606165</c:v>
                </c:pt>
                <c:pt idx="16">
                  <c:v>93.34197525661635</c:v>
                </c:pt>
                <c:pt idx="17">
                  <c:v>91.45538764706478</c:v>
                </c:pt>
                <c:pt idx="18">
                  <c:v>89.69816228248081</c:v>
                </c:pt>
                <c:pt idx="19">
                  <c:v>88.7733331185842</c:v>
                </c:pt>
                <c:pt idx="20">
                  <c:v>87.86359836350425</c:v>
                </c:pt>
                <c:pt idx="21">
                  <c:v>86.96856042014998</c:v>
                </c:pt>
                <c:pt idx="22">
                  <c:v>86.0878383557478</c:v>
                </c:pt>
                <c:pt idx="23">
                  <c:v>85.22106699472691</c:v>
                </c:pt>
                <c:pt idx="24">
                  <c:v>84.36789606135817</c:v>
                </c:pt>
                <c:pt idx="25">
                  <c:v>82.08285260410807</c:v>
                </c:pt>
                <c:pt idx="26">
                  <c:v>79.88598762731458</c:v>
                </c:pt>
                <c:pt idx="27">
                  <c:v>77.77424450691771</c:v>
                </c:pt>
                <c:pt idx="28">
                  <c:v>75.74452835229152</c:v>
                </c:pt>
                <c:pt idx="29">
                  <c:v>74.93793251286871</c:v>
                </c:pt>
                <c:pt idx="30">
                  <c:v>74.147143076107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C$2:$C$32</c:f>
              <c:numCache>
                <c:formatCode>General</c:formatCode>
                <c:ptCount val="31"/>
                <c:pt idx="0">
                  <c:v>104.12557246908094</c:v>
                </c:pt>
                <c:pt idx="1">
                  <c:v>103.97034833992676</c:v>
                </c:pt>
                <c:pt idx="2">
                  <c:v>103.81024358708527</c:v>
                </c:pt>
                <c:pt idx="3">
                  <c:v>103.6459557735788</c:v>
                </c:pt>
                <c:pt idx="4">
                  <c:v>103.4781433107995</c:v>
                </c:pt>
                <c:pt idx="5">
                  <c:v>103.42364641964966</c:v>
                </c:pt>
                <c:pt idx="6">
                  <c:v>103.38798217190954</c:v>
                </c:pt>
                <c:pt idx="7">
                  <c:v>103.3696015587545</c:v>
                </c:pt>
                <c:pt idx="8">
                  <c:v>103.36697765777379</c:v>
                </c:pt>
                <c:pt idx="9">
                  <c:v>103.37866427373159</c:v>
                </c:pt>
                <c:pt idx="10">
                  <c:v>102.46281142324682</c:v>
                </c:pt>
                <c:pt idx="11">
                  <c:v>101.59652918507436</c:v>
                </c:pt>
                <c:pt idx="12">
                  <c:v>100.77661043844799</c:v>
                </c:pt>
                <c:pt idx="13">
                  <c:v>100.0</c:v>
                </c:pt>
                <c:pt idx="14">
                  <c:v>98.71893891946662</c:v>
                </c:pt>
                <c:pt idx="15">
                  <c:v>97.58949253608901</c:v>
                </c:pt>
                <c:pt idx="16">
                  <c:v>96.58811881503213</c:v>
                </c:pt>
                <c:pt idx="17">
                  <c:v>95.69548047056816</c:v>
                </c:pt>
                <c:pt idx="18">
                  <c:v>94.8957467583921</c:v>
                </c:pt>
                <c:pt idx="19">
                  <c:v>94.93835358827714</c:v>
                </c:pt>
                <c:pt idx="20">
                  <c:v>94.97598853983865</c:v>
                </c:pt>
                <c:pt idx="21">
                  <c:v>95.00874245704696</c:v>
                </c:pt>
                <c:pt idx="22">
                  <c:v>95.03670600077795</c:v>
                </c:pt>
                <c:pt idx="23">
                  <c:v>95.05996961006795</c:v>
                </c:pt>
                <c:pt idx="24">
                  <c:v>95.07862345602327</c:v>
                </c:pt>
                <c:pt idx="25">
                  <c:v>93.45539778762442</c:v>
                </c:pt>
                <c:pt idx="26">
                  <c:v>91.88113814580612</c:v>
                </c:pt>
                <c:pt idx="27">
                  <c:v>90.35528836878899</c:v>
                </c:pt>
                <c:pt idx="28">
                  <c:v>88.87711330358078</c:v>
                </c:pt>
                <c:pt idx="29">
                  <c:v>88.79513279760634</c:v>
                </c:pt>
                <c:pt idx="30">
                  <c:v>88.7134674875882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D$2:$D$32</c:f>
              <c:numCache>
                <c:formatCode>General</c:formatCode>
                <c:ptCount val="31"/>
                <c:pt idx="0">
                  <c:v>67.76664731442139</c:v>
                </c:pt>
                <c:pt idx="1">
                  <c:v>70.89756930168582</c:v>
                </c:pt>
                <c:pt idx="2">
                  <c:v>73.93109217187721</c:v>
                </c:pt>
                <c:pt idx="3">
                  <c:v>76.8709305361858</c:v>
                </c:pt>
                <c:pt idx="4">
                  <c:v>79.72068571134298</c:v>
                </c:pt>
                <c:pt idx="5">
                  <c:v>82.58502008833813</c:v>
                </c:pt>
                <c:pt idx="6">
                  <c:v>85.38993925992841</c:v>
                </c:pt>
                <c:pt idx="7">
                  <c:v>88.13837776930843</c:v>
                </c:pt>
                <c:pt idx="8">
                  <c:v>90.83292781304094</c:v>
                </c:pt>
                <c:pt idx="9">
                  <c:v>93.47591478465726</c:v>
                </c:pt>
                <c:pt idx="10">
                  <c:v>95.18927766241953</c:v>
                </c:pt>
                <c:pt idx="11">
                  <c:v>96.84513524812515</c:v>
                </c:pt>
                <c:pt idx="12">
                  <c:v>98.44752185878647</c:v>
                </c:pt>
                <c:pt idx="13">
                  <c:v>100.0</c:v>
                </c:pt>
                <c:pt idx="14">
                  <c:v>100.93935166229923</c:v>
                </c:pt>
                <c:pt idx="15">
                  <c:v>101.93041719011097</c:v>
                </c:pt>
                <c:pt idx="16">
                  <c:v>102.96137591241126</c:v>
                </c:pt>
                <c:pt idx="17">
                  <c:v>104.02243557517285</c:v>
                </c:pt>
                <c:pt idx="18">
                  <c:v>105.10562217160452</c:v>
                </c:pt>
                <c:pt idx="19">
                  <c:v>107.07119534892927</c:v>
                </c:pt>
                <c:pt idx="20">
                  <c:v>108.9922111566629</c:v>
                </c:pt>
                <c:pt idx="21">
                  <c:v>110.8697058825347</c:v>
                </c:pt>
                <c:pt idx="22">
                  <c:v>112.70468352124215</c:v>
                </c:pt>
                <c:pt idx="23">
                  <c:v>114.49811739391347</c:v>
                </c:pt>
                <c:pt idx="24">
                  <c:v>116.25095165046493</c:v>
                </c:pt>
                <c:pt idx="25">
                  <c:v>115.93839239645163</c:v>
                </c:pt>
                <c:pt idx="26">
                  <c:v>115.59561135054999</c:v>
                </c:pt>
                <c:pt idx="27">
                  <c:v>115.22718556427274</c:v>
                </c:pt>
                <c:pt idx="28">
                  <c:v>114.83721852360007</c:v>
                </c:pt>
                <c:pt idx="29">
                  <c:v>116.19078878572948</c:v>
                </c:pt>
                <c:pt idx="30">
                  <c:v>117.514089437059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7.19</c:v>
                </c:pt>
                <c:pt idx="1">
                  <c:v>7.29</c:v>
                </c:pt>
                <c:pt idx="2">
                  <c:v>7.39</c:v>
                </c:pt>
                <c:pt idx="3">
                  <c:v>7.49</c:v>
                </c:pt>
                <c:pt idx="4">
                  <c:v>7.59</c:v>
                </c:pt>
                <c:pt idx="5">
                  <c:v>7.69</c:v>
                </c:pt>
                <c:pt idx="6">
                  <c:v>7.79</c:v>
                </c:pt>
                <c:pt idx="7">
                  <c:v>7.89</c:v>
                </c:pt>
                <c:pt idx="8">
                  <c:v>7.99</c:v>
                </c:pt>
                <c:pt idx="9">
                  <c:v>8.09</c:v>
                </c:pt>
                <c:pt idx="10">
                  <c:v>8.19</c:v>
                </c:pt>
                <c:pt idx="11">
                  <c:v>8.29</c:v>
                </c:pt>
                <c:pt idx="12">
                  <c:v>8.39</c:v>
                </c:pt>
                <c:pt idx="13">
                  <c:v>8.49</c:v>
                </c:pt>
                <c:pt idx="14">
                  <c:v>8.59</c:v>
                </c:pt>
                <c:pt idx="15">
                  <c:v>8.69</c:v>
                </c:pt>
                <c:pt idx="16">
                  <c:v>8.79</c:v>
                </c:pt>
                <c:pt idx="17">
                  <c:v>8.89</c:v>
                </c:pt>
                <c:pt idx="18">
                  <c:v>8.99</c:v>
                </c:pt>
                <c:pt idx="19">
                  <c:v>9.09</c:v>
                </c:pt>
                <c:pt idx="20">
                  <c:v>9.19</c:v>
                </c:pt>
                <c:pt idx="21">
                  <c:v>9.29</c:v>
                </c:pt>
                <c:pt idx="22">
                  <c:v>9.39</c:v>
                </c:pt>
                <c:pt idx="23">
                  <c:v>9.49</c:v>
                </c:pt>
                <c:pt idx="24">
                  <c:v>9.59</c:v>
                </c:pt>
                <c:pt idx="25">
                  <c:v>9.69</c:v>
                </c:pt>
                <c:pt idx="26">
                  <c:v>9.79</c:v>
                </c:pt>
                <c:pt idx="27">
                  <c:v>9.89</c:v>
                </c:pt>
                <c:pt idx="28">
                  <c:v>9.99</c:v>
                </c:pt>
                <c:pt idx="29">
                  <c:v>10.09</c:v>
                </c:pt>
                <c:pt idx="30">
                  <c:v>10.19</c:v>
                </c:pt>
              </c:strCache>
            </c:strRef>
          </c:cat>
          <c:val>
            <c:numRef>
              <c:f>Sheet1!$E$2:$E$32</c:f>
              <c:numCache>
                <c:formatCode>General</c:formatCode>
                <c:ptCount val="31"/>
                <c:pt idx="0">
                  <c:v>0.2249924760362248</c:v>
                </c:pt>
                <c:pt idx="1">
                  <c:v>0.23562358061734623</c:v>
                </c:pt>
                <c:pt idx="2">
                  <c:v>0.24596696924228084</c:v>
                </c:pt>
                <c:pt idx="3">
                  <c:v>0.2560341659146133</c:v>
                </c:pt>
                <c:pt idx="4">
                  <c:v>0.2658360873123126</c:v>
                </c:pt>
                <c:pt idx="5">
                  <c:v>0.2753830822757415</c:v>
                </c:pt>
                <c:pt idx="6">
                  <c:v>0.28468496825423006</c:v>
                </c:pt>
                <c:pt idx="7">
                  <c:v>0.2937510649810462</c:v>
                </c:pt>
                <c:pt idx="8">
                  <c:v>0.30259022561958143</c:v>
                </c:pt>
                <c:pt idx="9">
                  <c:v>0.31121086559956174</c:v>
                </c:pt>
                <c:pt idx="10">
                  <c:v>0.3196209893407147</c:v>
                </c:pt>
                <c:pt idx="11">
                  <c:v>0.3278282150422745</c:v>
                </c:pt>
                <c:pt idx="12">
                  <c:v>0.3358397976996965</c:v>
                </c:pt>
                <c:pt idx="13">
                  <c:v>0.3436626504947532</c:v>
                </c:pt>
                <c:pt idx="14">
                  <c:v>0.35130336469155476</c:v>
                </c:pt>
                <c:pt idx="15">
                  <c:v>0.3587682281588554</c:v>
                </c:pt>
                <c:pt idx="16">
                  <c:v>0.366063242628038</c:v>
                </c:pt>
                <c:pt idx="17">
                  <c:v>0.3731941397863278</c:v>
                </c:pt>
                <c:pt idx="18">
                  <c:v>0.3801663962959349</c:v>
                </c:pt>
                <c:pt idx="19">
                  <c:v>0.38698524782183225</c:v>
                </c:pt>
                <c:pt idx="20">
                  <c:v>0.3936557021436837</c:v>
                </c:pt>
                <c:pt idx="21">
                  <c:v>0.40018255142093156</c:v>
                </c:pt>
                <c:pt idx="22">
                  <c:v>0.40657038367416987</c:v>
                </c:pt>
                <c:pt idx="23">
                  <c:v>0.41282359354061693</c:v>
                </c:pt>
                <c:pt idx="24">
                  <c:v>0.41894639235666886</c:v>
                </c:pt>
                <c:pt idx="25">
                  <c:v>0.424942817616146</c:v>
                </c:pt>
                <c:pt idx="26">
                  <c:v>0.4308167418488718</c:v>
                </c:pt>
                <c:pt idx="27">
                  <c:v>0.4365718809606123</c:v>
                </c:pt>
                <c:pt idx="28">
                  <c:v>0.44221180207211735</c:v>
                </c:pt>
                <c:pt idx="29">
                  <c:v>0.44773993089201736</c:v>
                </c:pt>
                <c:pt idx="30">
                  <c:v>0.453159558655589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B$2:$B$37</c:f>
              <c:numCache>
                <c:formatCode>General</c:formatCode>
                <c:ptCount val="36"/>
                <c:pt idx="0">
                  <c:v>131.69001376055152</c:v>
                </c:pt>
                <c:pt idx="1">
                  <c:v>128.08935376253785</c:v>
                </c:pt>
                <c:pt idx="2">
                  <c:v>124.83476465187064</c:v>
                </c:pt>
                <c:pt idx="3">
                  <c:v>121.86611666478345</c:v>
                </c:pt>
                <c:pt idx="4">
                  <c:v>119.13666139145458</c:v>
                </c:pt>
                <c:pt idx="5">
                  <c:v>116.60972349214569</c:v>
                </c:pt>
                <c:pt idx="6">
                  <c:v>115.06452866424172</c:v>
                </c:pt>
                <c:pt idx="7">
                  <c:v>113.55501480502579</c:v>
                </c:pt>
                <c:pt idx="8">
                  <c:v>112.08010429300441</c:v>
                </c:pt>
                <c:pt idx="9">
                  <c:v>110.6387590547706</c:v>
                </c:pt>
                <c:pt idx="10">
                  <c:v>109.22997824559204</c:v>
                </c:pt>
                <c:pt idx="11">
                  <c:v>107.85279616179237</c:v>
                </c:pt>
                <c:pt idx="12">
                  <c:v>105.76647483248966</c:v>
                </c:pt>
                <c:pt idx="13">
                  <c:v>103.7658637152575</c:v>
                </c:pt>
                <c:pt idx="14">
                  <c:v>101.84541429072856</c:v>
                </c:pt>
                <c:pt idx="15">
                  <c:v>100.0</c:v>
                </c:pt>
                <c:pt idx="16">
                  <c:v>98.76373791099218</c:v>
                </c:pt>
                <c:pt idx="17">
                  <c:v>97.55747821133214</c:v>
                </c:pt>
                <c:pt idx="18">
                  <c:v>96.38016608314027</c:v>
                </c:pt>
                <c:pt idx="19">
                  <c:v>95.23079271667233</c:v>
                </c:pt>
                <c:pt idx="20">
                  <c:v>94.10839261369186</c:v>
                </c:pt>
                <c:pt idx="21">
                  <c:v>93.01204111509496</c:v>
                </c:pt>
                <c:pt idx="22">
                  <c:v>91.94085213119911</c:v>
                </c:pt>
                <c:pt idx="23">
                  <c:v>90.8939760550695</c:v>
                </c:pt>
                <c:pt idx="24">
                  <c:v>87.06370828015156</c:v>
                </c:pt>
                <c:pt idx="25">
                  <c:v>83.48131219254661</c:v>
                </c:pt>
                <c:pt idx="26">
                  <c:v>82.69487673391674</c:v>
                </c:pt>
                <c:pt idx="27">
                  <c:v>81.92232958214304</c:v>
                </c:pt>
                <c:pt idx="28">
                  <c:v>81.16328733614885</c:v>
                </c:pt>
                <c:pt idx="29">
                  <c:v>80.41738082302126</c:v>
                </c:pt>
                <c:pt idx="30">
                  <c:v>79.68425444964024</c:v>
                </c:pt>
                <c:pt idx="31">
                  <c:v>78.96356558781116</c:v>
                </c:pt>
                <c:pt idx="32">
                  <c:v>78.2549839912167</c:v>
                </c:pt>
                <c:pt idx="33">
                  <c:v>77.55819124255441</c:v>
                </c:pt>
                <c:pt idx="34">
                  <c:v>76.87288022928198</c:v>
                </c:pt>
                <c:pt idx="35">
                  <c:v>76.1987546464474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C$2:$C$37</c:f>
              <c:numCache>
                <c:formatCode>General</c:formatCode>
                <c:ptCount val="36"/>
                <c:pt idx="0">
                  <c:v>111.98619573743993</c:v>
                </c:pt>
                <c:pt idx="1">
                  <c:v>110.203247688451</c:v>
                </c:pt>
                <c:pt idx="2">
                  <c:v>108.64942828190603</c:v>
                </c:pt>
                <c:pt idx="3">
                  <c:v>107.2822162266994</c:v>
                </c:pt>
                <c:pt idx="4">
                  <c:v>106.06858985137715</c:v>
                </c:pt>
                <c:pt idx="5">
                  <c:v>104.98272017018691</c:v>
                </c:pt>
                <c:pt idx="6">
                  <c:v>104.73856987958656</c:v>
                </c:pt>
                <c:pt idx="7">
                  <c:v>104.49646949043631</c:v>
                </c:pt>
                <c:pt idx="8">
                  <c:v>104.25648283323153</c:v>
                </c:pt>
                <c:pt idx="9">
                  <c:v>104.01866795249654</c:v>
                </c:pt>
                <c:pt idx="10">
                  <c:v>103.78307687759249</c:v>
                </c:pt>
                <c:pt idx="11">
                  <c:v>103.5497554770497</c:v>
                </c:pt>
                <c:pt idx="12">
                  <c:v>102.60153836861916</c:v>
                </c:pt>
                <c:pt idx="13">
                  <c:v>101.69576345248446</c:v>
                </c:pt>
                <c:pt idx="14">
                  <c:v>100.82949531006793</c:v>
                </c:pt>
                <c:pt idx="15">
                  <c:v>100.0</c:v>
                </c:pt>
                <c:pt idx="16">
                  <c:v>99.74883012464342</c:v>
                </c:pt>
                <c:pt idx="17">
                  <c:v>99.50360952411317</c:v>
                </c:pt>
                <c:pt idx="18">
                  <c:v>99.26414890390885</c:v>
                </c:pt>
                <c:pt idx="19">
                  <c:v>99.03026477153033</c:v>
                </c:pt>
                <c:pt idx="20">
                  <c:v>98.80177889786533</c:v>
                </c:pt>
                <c:pt idx="21">
                  <c:v>98.57851785496176</c:v>
                </c:pt>
                <c:pt idx="22">
                  <c:v>98.36031262273099</c:v>
                </c:pt>
                <c:pt idx="23">
                  <c:v>98.14699825753</c:v>
                </c:pt>
                <c:pt idx="24">
                  <c:v>94.88294501358179</c:v>
                </c:pt>
                <c:pt idx="25">
                  <c:v>91.81480616925317</c:v>
                </c:pt>
                <c:pt idx="26">
                  <c:v>91.7747839473817</c:v>
                </c:pt>
                <c:pt idx="27">
                  <c:v>91.73462323458999</c:v>
                </c:pt>
                <c:pt idx="28">
                  <c:v>91.69430664484298</c:v>
                </c:pt>
                <c:pt idx="29">
                  <c:v>91.65381770373506</c:v>
                </c:pt>
                <c:pt idx="30">
                  <c:v>91.6131408129198</c:v>
                </c:pt>
                <c:pt idx="31">
                  <c:v>91.5722612145837</c:v>
                </c:pt>
                <c:pt idx="32">
                  <c:v>91.53116495633572</c:v>
                </c:pt>
                <c:pt idx="33">
                  <c:v>91.48983885680363</c:v>
                </c:pt>
                <c:pt idx="34">
                  <c:v>91.44827047216992</c:v>
                </c:pt>
                <c:pt idx="35">
                  <c:v>91.40644806381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D$2:$D$37</c:f>
              <c:numCache>
                <c:formatCode>General</c:formatCode>
                <c:ptCount val="36"/>
                <c:pt idx="0">
                  <c:v>-42.99335847990599</c:v>
                </c:pt>
                <c:pt idx="1">
                  <c:v>-30.48932417145709</c:v>
                </c:pt>
                <c:pt idx="2">
                  <c:v>-18.674450578267354</c:v>
                </c:pt>
                <c:pt idx="3">
                  <c:v>-7.453103243165327</c:v>
                </c:pt>
                <c:pt idx="4">
                  <c:v>3.249405365666991</c:v>
                </c:pt>
                <c:pt idx="5">
                  <c:v>13.492363299645804</c:v>
                </c:pt>
                <c:pt idx="6">
                  <c:v>23.488767989462968</c:v>
                </c:pt>
                <c:pt idx="7">
                  <c:v>33.22226487713122</c:v>
                </c:pt>
                <c:pt idx="8">
                  <c:v>42.701915677385735</c:v>
                </c:pt>
                <c:pt idx="9">
                  <c:v>51.93641891475102</c:v>
                </c:pt>
                <c:pt idx="10">
                  <c:v>60.93412616828138</c:v>
                </c:pt>
                <c:pt idx="11">
                  <c:v>69.70305723037265</c:v>
                </c:pt>
                <c:pt idx="12">
                  <c:v>77.70764231489193</c:v>
                </c:pt>
                <c:pt idx="13">
                  <c:v>85.41379928906764</c:v>
                </c:pt>
                <c:pt idx="14">
                  <c:v>92.83920599607599</c:v>
                </c:pt>
                <c:pt idx="15">
                  <c:v>100.0</c:v>
                </c:pt>
                <c:pt idx="16">
                  <c:v>107.49699979788869</c:v>
                </c:pt>
                <c:pt idx="17">
                  <c:v>114.81062814075749</c:v>
                </c:pt>
                <c:pt idx="18">
                  <c:v>121.94751376875396</c:v>
                </c:pt>
                <c:pt idx="19">
                  <c:v>128.91397422621353</c:v>
                </c:pt>
                <c:pt idx="20">
                  <c:v>135.71603234872555</c:v>
                </c:pt>
                <c:pt idx="21">
                  <c:v>142.3594316593578</c:v>
                </c:pt>
                <c:pt idx="22">
                  <c:v>148.84965077826712</c:v>
                </c:pt>
                <c:pt idx="23">
                  <c:v>155.1919169379583</c:v>
                </c:pt>
                <c:pt idx="24">
                  <c:v>156.34986698955865</c:v>
                </c:pt>
                <c:pt idx="25">
                  <c:v>157.29756778124272</c:v>
                </c:pt>
                <c:pt idx="26">
                  <c:v>163.1279870204081</c:v>
                </c:pt>
                <c:pt idx="27">
                  <c:v>168.84794111827344</c:v>
                </c:pt>
                <c:pt idx="28">
                  <c:v>174.46029080729747</c:v>
                </c:pt>
                <c:pt idx="29">
                  <c:v>179.96779301003744</c:v>
                </c:pt>
                <c:pt idx="30">
                  <c:v>185.37310562454786</c:v>
                </c:pt>
                <c:pt idx="31">
                  <c:v>190.67879204644134</c:v>
                </c:pt>
                <c:pt idx="32">
                  <c:v>195.88732544416266</c:v>
                </c:pt>
                <c:pt idx="33">
                  <c:v>201.00109280294961</c:v>
                </c:pt>
                <c:pt idx="34">
                  <c:v>206.02239875196088</c:v>
                </c:pt>
                <c:pt idx="35">
                  <c:v>210.9534691880665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E$2:$E$37</c:f>
              <c:numCache>
                <c:formatCode>General</c:formatCode>
                <c:ptCount val="36"/>
                <c:pt idx="0">
                  <c:v>-0.043481451985034794</c:v>
                </c:pt>
                <c:pt idx="1">
                  <c:v>-0.03133382157775862</c:v>
                </c:pt>
                <c:pt idx="2">
                  <c:v>-0.019465768395045525</c:v>
                </c:pt>
                <c:pt idx="3">
                  <c:v>-0.00786775055209865</c:v>
                </c:pt>
                <c:pt idx="4">
                  <c:v>0.0034693445047304108</c:v>
                </c:pt>
                <c:pt idx="5">
                  <c:v>0.014554223876201545</c:v>
                </c:pt>
                <c:pt idx="6">
                  <c:v>0.025395211512326887</c:v>
                </c:pt>
                <c:pt idx="7">
                  <c:v>0.036000269058438755</c:v>
                </c:pt>
                <c:pt idx="8">
                  <c:v>0.04637701535490344</c:v>
                </c:pt>
                <c:pt idx="9">
                  <c:v>0.05653274469084697</c:v>
                </c:pt>
                <c:pt idx="10">
                  <c:v>0.066474443903799</c:v>
                </c:pt>
                <c:pt idx="11">
                  <c:v>0.07620880840949443</c:v>
                </c:pt>
                <c:pt idx="12">
                  <c:v>0.08574225723911803</c:v>
                </c:pt>
                <c:pt idx="13">
                  <c:v>0.09508094715495957</c:v>
                </c:pt>
                <c:pt idx="14">
                  <c:v>0.10423078590971226</c:v>
                </c:pt>
                <c:pt idx="15">
                  <c:v>0.11319744470941455</c:v>
                </c:pt>
                <c:pt idx="16">
                  <c:v>0.12198636993528764</c:v>
                </c:pt>
                <c:pt idx="17">
                  <c:v>0.1306027941753729</c:v>
                </c:pt>
                <c:pt idx="18">
                  <c:v>0.13905174661293027</c:v>
                </c:pt>
                <c:pt idx="19">
                  <c:v>0.14733806281492337</c:v>
                </c:pt>
                <c:pt idx="20">
                  <c:v>0.15546639396063427</c:v>
                </c:pt>
                <c:pt idx="21">
                  <c:v>0.16344121554740826</c:v>
                </c:pt>
                <c:pt idx="22">
                  <c:v>0.17126683560776937</c:v>
                </c:pt>
                <c:pt idx="23">
                  <c:v>0.17894740246960653</c:v>
                </c:pt>
                <c:pt idx="24">
                  <c:v>0.186486912088802</c:v>
                </c:pt>
                <c:pt idx="25">
                  <c:v>0.19388921498153341</c:v>
                </c:pt>
                <c:pt idx="26">
                  <c:v>0.2011580227815198</c:v>
                </c:pt>
                <c:pt idx="27">
                  <c:v>0.20829691444567056</c:v>
                </c:pt>
                <c:pt idx="28">
                  <c:v>0.21530934212994307</c:v>
                </c:pt>
                <c:pt idx="29">
                  <c:v>0.2221986367556677</c:v>
                </c:pt>
                <c:pt idx="30">
                  <c:v>0.2289680132852091</c:v>
                </c:pt>
                <c:pt idx="31">
                  <c:v>0.2356205757245083</c:v>
                </c:pt>
                <c:pt idx="32">
                  <c:v>0.24215932186886707</c:v>
                </c:pt>
                <c:pt idx="33">
                  <c:v>0.2485871478072141</c:v>
                </c:pt>
                <c:pt idx="34">
                  <c:v>0.25490685219907927</c:v>
                </c:pt>
                <c:pt idx="35">
                  <c:v>0.261121140337535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3"/>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B$2:$B$37</c:f>
              <c:numCache>
                <c:formatCode>General</c:formatCode>
                <c:ptCount val="36"/>
                <c:pt idx="0">
                  <c:v>142.95121329577063</c:v>
                </c:pt>
                <c:pt idx="1">
                  <c:v>135.943192833665</c:v>
                </c:pt>
                <c:pt idx="2">
                  <c:v>129.92562144092796</c:v>
                </c:pt>
                <c:pt idx="3">
                  <c:v>124.71445693579572</c:v>
                </c:pt>
                <c:pt idx="4">
                  <c:v>120.16045747359361</c:v>
                </c:pt>
                <c:pt idx="5">
                  <c:v>116.144030740633</c:v>
                </c:pt>
                <c:pt idx="6">
                  <c:v>114.34226554040676</c:v>
                </c:pt>
                <c:pt idx="7">
                  <c:v>112.5965808438703</c:v>
                </c:pt>
                <c:pt idx="8">
                  <c:v>110.90443886182419</c:v>
                </c:pt>
                <c:pt idx="9">
                  <c:v>109.26343317567428</c:v>
                </c:pt>
                <c:pt idx="10">
                  <c:v>107.67128192986442</c:v>
                </c:pt>
                <c:pt idx="11">
                  <c:v>106.12582136492054</c:v>
                </c:pt>
                <c:pt idx="12">
                  <c:v>104.5201853004076</c:v>
                </c:pt>
                <c:pt idx="13">
                  <c:v>102.96599870737064</c:v>
                </c:pt>
                <c:pt idx="14">
                  <c:v>101.4602055757923</c:v>
                </c:pt>
                <c:pt idx="15">
                  <c:v>100.0</c:v>
                </c:pt>
                <c:pt idx="16">
                  <c:v>98.27994932717786</c:v>
                </c:pt>
                <c:pt idx="17">
                  <c:v>96.6208374996658</c:v>
                </c:pt>
                <c:pt idx="18">
                  <c:v>95.01938573901242</c:v>
                </c:pt>
                <c:pt idx="19">
                  <c:v>93.47253129717566</c:v>
                </c:pt>
                <c:pt idx="20">
                  <c:v>91.97741274908424</c:v>
                </c:pt>
                <c:pt idx="21">
                  <c:v>90.53135603136168</c:v>
                </c:pt>
                <c:pt idx="22">
                  <c:v>89.13186126161395</c:v>
                </c:pt>
                <c:pt idx="23">
                  <c:v>87.77659035200487</c:v>
                </c:pt>
                <c:pt idx="24">
                  <c:v>84.69734300604857</c:v>
                </c:pt>
                <c:pt idx="25">
                  <c:v>81.7979364854729</c:v>
                </c:pt>
                <c:pt idx="26">
                  <c:v>81.25111287014127</c:v>
                </c:pt>
                <c:pt idx="27">
                  <c:v>80.71184626308445</c:v>
                </c:pt>
                <c:pt idx="28">
                  <c:v>80.17993529852694</c:v>
                </c:pt>
                <c:pt idx="29">
                  <c:v>79.6551867709362</c:v>
                </c:pt>
                <c:pt idx="30">
                  <c:v>79.13741523055528</c:v>
                </c:pt>
                <c:pt idx="31">
                  <c:v>78.6264426003832</c:v>
                </c:pt>
                <c:pt idx="32">
                  <c:v>78.12209781352023</c:v>
                </c:pt>
                <c:pt idx="33">
                  <c:v>77.62421646983306</c:v>
                </c:pt>
                <c:pt idx="34">
                  <c:v>77.13264051093506</c:v>
                </c:pt>
                <c:pt idx="35">
                  <c:v>76.6472179125242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C$2:$C$37</c:f>
              <c:numCache>
                <c:formatCode>General</c:formatCode>
                <c:ptCount val="36"/>
                <c:pt idx="0">
                  <c:v>121.5455909596255</c:v>
                </c:pt>
                <c:pt idx="1">
                  <c:v>116.9464313372486</c:v>
                </c:pt>
                <c:pt idx="2">
                  <c:v>113.06883203386322</c:v>
                </c:pt>
                <c:pt idx="3">
                  <c:v>109.7805581811586</c:v>
                </c:pt>
                <c:pt idx="4">
                  <c:v>106.97297803709075</c:v>
                </c:pt>
                <c:pt idx="5">
                  <c:v>104.5581721203702</c:v>
                </c:pt>
                <c:pt idx="6">
                  <c:v>104.07666319588817</c:v>
                </c:pt>
                <c:pt idx="7">
                  <c:v>103.6108490231952</c:v>
                </c:pt>
                <c:pt idx="8">
                  <c:v>103.16004400962191</c:v>
                </c:pt>
                <c:pt idx="9">
                  <c:v>102.72358511016284</c:v>
                </c:pt>
                <c:pt idx="10">
                  <c:v>102.300831885361</c:v>
                </c:pt>
                <c:pt idx="11">
                  <c:v>101.89116648088294</c:v>
                </c:pt>
                <c:pt idx="12">
                  <c:v>101.39219807773631</c:v>
                </c:pt>
                <c:pt idx="13">
                  <c:v>100.91165176144317</c:v>
                </c:pt>
                <c:pt idx="14">
                  <c:v>100.44803906577413</c:v>
                </c:pt>
                <c:pt idx="15">
                  <c:v>100.0</c:v>
                </c:pt>
                <c:pt idx="16">
                  <c:v>99.26108849828387</c:v>
                </c:pt>
                <c:pt idx="17">
                  <c:v>98.55001717386621</c:v>
                </c:pt>
                <c:pt idx="18">
                  <c:v>97.86523124165018</c:v>
                </c:pt>
                <c:pt idx="19">
                  <c:v>97.2052699680371</c:v>
                </c:pt>
                <c:pt idx="20">
                  <c:v>96.56876197463096</c:v>
                </c:pt>
                <c:pt idx="21">
                  <c:v>95.95442045629537</c:v>
                </c:pt>
                <c:pt idx="22">
                  <c:v>95.36103840203097</c:v>
                </c:pt>
                <c:pt idx="23">
                  <c:v>94.78748388759735</c:v>
                </c:pt>
                <c:pt idx="24">
                  <c:v>92.31049305933506</c:v>
                </c:pt>
                <c:pt idx="25">
                  <c:v>89.96964235080306</c:v>
                </c:pt>
                <c:pt idx="26">
                  <c:v>90.17858567435776</c:v>
                </c:pt>
                <c:pt idx="27">
                  <c:v>90.38506966504215</c:v>
                </c:pt>
                <c:pt idx="28">
                  <c:v>90.58909352725476</c:v>
                </c:pt>
                <c:pt idx="29">
                  <c:v>90.79065771451315</c:v>
                </c:pt>
                <c:pt idx="30">
                  <c:v>90.9897638719115</c:v>
                </c:pt>
                <c:pt idx="31">
                  <c:v>91.18641477922755</c:v>
                </c:pt>
                <c:pt idx="32">
                  <c:v>91.3806142949102</c:v>
                </c:pt>
                <c:pt idx="33">
                  <c:v>91.57236730113848</c:v>
                </c:pt>
                <c:pt idx="34">
                  <c:v>91.76167965010639</c:v>
                </c:pt>
                <c:pt idx="35">
                  <c:v>91.9485581116635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D$2:$D$37</c:f>
              <c:numCache>
                <c:formatCode>General</c:formatCode>
                <c:ptCount val="36"/>
                <c:pt idx="0">
                  <c:v>97.73021592235987</c:v>
                </c:pt>
                <c:pt idx="1">
                  <c:v>95.8035274753881</c:v>
                </c:pt>
                <c:pt idx="2">
                  <c:v>94.30086777940699</c:v>
                </c:pt>
                <c:pt idx="3">
                  <c:v>93.1472442192115</c:v>
                </c:pt>
                <c:pt idx="4">
                  <c:v>92.27891925187953</c:v>
                </c:pt>
                <c:pt idx="5">
                  <c:v>91.64300038371378</c:v>
                </c:pt>
                <c:pt idx="6">
                  <c:v>92.63330654278708</c:v>
                </c:pt>
                <c:pt idx="7">
                  <c:v>93.59420374710511</c:v>
                </c:pt>
                <c:pt idx="8">
                  <c:v>94.52707927640024</c:v>
                </c:pt>
                <c:pt idx="9">
                  <c:v>95.4332208601548</c:v>
                </c:pt>
                <c:pt idx="10">
                  <c:v>96.31382446256833</c:v>
                </c:pt>
                <c:pt idx="11">
                  <c:v>97.17000151568264</c:v>
                </c:pt>
                <c:pt idx="12">
                  <c:v>97.90496077724413</c:v>
                </c:pt>
                <c:pt idx="13">
                  <c:v>98.62143779992019</c:v>
                </c:pt>
                <c:pt idx="14">
                  <c:v>99.31969826688848</c:v>
                </c:pt>
                <c:pt idx="15">
                  <c:v>100.0</c:v>
                </c:pt>
                <c:pt idx="16">
                  <c:v>100.35285568054526</c:v>
                </c:pt>
                <c:pt idx="17">
                  <c:v>100.69666559643036</c:v>
                </c:pt>
                <c:pt idx="18">
                  <c:v>101.03179925124692</c:v>
                </c:pt>
                <c:pt idx="19">
                  <c:v>101.3585837835706</c:v>
                </c:pt>
                <c:pt idx="20">
                  <c:v>101.67731049366502</c:v>
                </c:pt>
                <c:pt idx="21">
                  <c:v>101.98824034876881</c:v>
                </c:pt>
                <c:pt idx="22">
                  <c:v>102.29160861677451</c:v>
                </c:pt>
                <c:pt idx="23">
                  <c:v>102.58762875972009</c:v>
                </c:pt>
                <c:pt idx="24">
                  <c:v>100.77457754362955</c:v>
                </c:pt>
                <c:pt idx="25">
                  <c:v>99.04949291539008</c:v>
                </c:pt>
                <c:pt idx="26">
                  <c:v>100.10147561330245</c:v>
                </c:pt>
                <c:pt idx="27">
                  <c:v>101.13985173684299</c:v>
                </c:pt>
                <c:pt idx="28">
                  <c:v>102.16484313374777</c:v>
                </c:pt>
                <c:pt idx="29">
                  <c:v>103.17666522314784</c:v>
                </c:pt>
                <c:pt idx="30">
                  <c:v>104.17552732423836</c:v>
                </c:pt>
                <c:pt idx="31">
                  <c:v>105.16163296241233</c:v>
                </c:pt>
                <c:pt idx="32">
                  <c:v>106.13518015455583</c:v>
                </c:pt>
                <c:pt idx="33">
                  <c:v>107.096361675074</c:v>
                </c:pt>
                <c:pt idx="34">
                  <c:v>108.04536530409294</c:v>
                </c:pt>
                <c:pt idx="35">
                  <c:v>108.982374059184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E$2:$E$37</c:f>
              <c:numCache>
                <c:formatCode>General</c:formatCode>
                <c:ptCount val="36"/>
                <c:pt idx="0">
                  <c:v>0.3815165234424285</c:v>
                </c:pt>
                <c:pt idx="1">
                  <c:v>0.38871656391457693</c:v>
                </c:pt>
                <c:pt idx="2">
                  <c:v>0.3957508957452494</c:v>
                </c:pt>
                <c:pt idx="3">
                  <c:v>0.4026251745194785</c:v>
                </c:pt>
                <c:pt idx="4">
                  <c:v>0.40934480135278023</c:v>
                </c:pt>
                <c:pt idx="5">
                  <c:v>0.4159149370440731</c:v>
                </c:pt>
                <c:pt idx="6">
                  <c:v>0.4223405152944134</c:v>
                </c:pt>
                <c:pt idx="7">
                  <c:v>0.4286262550627002</c:v>
                </c:pt>
                <c:pt idx="8">
                  <c:v>0.43477667212338184</c:v>
                </c:pt>
                <c:pt idx="9">
                  <c:v>0.44079608988564595</c:v>
                </c:pt>
                <c:pt idx="10">
                  <c:v>0.4466886495285792</c:v>
                </c:pt>
                <c:pt idx="11">
                  <c:v>0.4524583195022124</c:v>
                </c:pt>
                <c:pt idx="12">
                  <c:v>0.4581089044402701</c:v>
                </c:pt>
                <c:pt idx="13">
                  <c:v>0.4636440535266819</c:v>
                </c:pt>
                <c:pt idx="14">
                  <c:v>0.4690672683545214</c:v>
                </c:pt>
                <c:pt idx="15">
                  <c:v>0.4743819103129344</c:v>
                </c:pt>
                <c:pt idx="16">
                  <c:v>0.47959120753480844</c:v>
                </c:pt>
                <c:pt idx="17">
                  <c:v>0.48469826143534994</c:v>
                </c:pt>
                <c:pt idx="18">
                  <c:v>0.4897060528694088</c:v>
                </c:pt>
                <c:pt idx="19">
                  <c:v>0.4946174479332259</c:v>
                </c:pt>
                <c:pt idx="20">
                  <c:v>0.499435203434339</c:v>
                </c:pt>
                <c:pt idx="21">
                  <c:v>0.5041619720515785</c:v>
                </c:pt>
                <c:pt idx="22">
                  <c:v>0.5088003072054459</c:v>
                </c:pt>
                <c:pt idx="23">
                  <c:v>0.5133526676576662</c:v>
                </c:pt>
                <c:pt idx="24">
                  <c:v>0.5178214218573204</c:v>
                </c:pt>
                <c:pt idx="25">
                  <c:v>0.5222088520497012</c:v>
                </c:pt>
                <c:pt idx="26">
                  <c:v>0.526517158162869</c:v>
                </c:pt>
                <c:pt idx="27">
                  <c:v>0.5307484614858103</c:v>
                </c:pt>
                <c:pt idx="28">
                  <c:v>0.5349048081511264</c:v>
                </c:pt>
                <c:pt idx="29">
                  <c:v>0.5389881724342594</c:v>
                </c:pt>
                <c:pt idx="30">
                  <c:v>0.5430004598804365</c:v>
                </c:pt>
                <c:pt idx="31">
                  <c:v>0.546943510269734</c:v>
                </c:pt>
                <c:pt idx="32">
                  <c:v>0.5508191004299587</c:v>
                </c:pt>
                <c:pt idx="33">
                  <c:v>0.5546289469063799</c:v>
                </c:pt>
                <c:pt idx="34">
                  <c:v>0.5583747084967382</c:v>
                </c:pt>
                <c:pt idx="35">
                  <c:v>0.56205798865940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B$2:$B$37</c:f>
              <c:numCache>
                <c:formatCode>General</c:formatCode>
                <c:ptCount val="36"/>
                <c:pt idx="0">
                  <c:v>142.47977119967197</c:v>
                </c:pt>
                <c:pt idx="1">
                  <c:v>135.57244140773756</c:v>
                </c:pt>
                <c:pt idx="2">
                  <c:v>129.5010252595328</c:v>
                </c:pt>
                <c:pt idx="3">
                  <c:v>124.12641145598253</c:v>
                </c:pt>
                <c:pt idx="4">
                  <c:v>119.33476656622082</c:v>
                </c:pt>
                <c:pt idx="5">
                  <c:v>115.03338599304729</c:v>
                </c:pt>
                <c:pt idx="6">
                  <c:v>113.18363850838871</c:v>
                </c:pt>
                <c:pt idx="7">
                  <c:v>111.38696965113158</c:v>
                </c:pt>
                <c:pt idx="8">
                  <c:v>109.64148059157594</c:v>
                </c:pt>
                <c:pt idx="9">
                  <c:v>107.94533530373116</c:v>
                </c:pt>
                <c:pt idx="10">
                  <c:v>106.29675873879698</c:v>
                </c:pt>
                <c:pt idx="11">
                  <c:v>104.6940351172871</c:v>
                </c:pt>
                <c:pt idx="12">
                  <c:v>103.48119446657282</c:v>
                </c:pt>
                <c:pt idx="13">
                  <c:v>102.29534329359919</c:v>
                </c:pt>
                <c:pt idx="14">
                  <c:v>101.13530797350944</c:v>
                </c:pt>
                <c:pt idx="15">
                  <c:v>100.0</c:v>
                </c:pt>
                <c:pt idx="16">
                  <c:v>97.91572446235952</c:v>
                </c:pt>
                <c:pt idx="17">
                  <c:v>95.89799353945014</c:v>
                </c:pt>
                <c:pt idx="18">
                  <c:v>93.94438964277822</c:v>
                </c:pt>
                <c:pt idx="19">
                  <c:v>92.05258956939247</c:v>
                </c:pt>
                <c:pt idx="20">
                  <c:v>90.22035939232127</c:v>
                </c:pt>
                <c:pt idx="21">
                  <c:v>88.44554967790602</c:v>
                </c:pt>
                <c:pt idx="22">
                  <c:v>86.72609103781689</c:v>
                </c:pt>
                <c:pt idx="23">
                  <c:v>85.05999001837523</c:v>
                </c:pt>
                <c:pt idx="24">
                  <c:v>81.5442479358148</c:v>
                </c:pt>
                <c:pt idx="25">
                  <c:v>78.23161639942316</c:v>
                </c:pt>
                <c:pt idx="26">
                  <c:v>77.78866160694528</c:v>
                </c:pt>
                <c:pt idx="27">
                  <c:v>77.34986647428873</c:v>
                </c:pt>
                <c:pt idx="28">
                  <c:v>76.9151630196238</c:v>
                </c:pt>
                <c:pt idx="29">
                  <c:v>76.48448517832554</c:v>
                </c:pt>
                <c:pt idx="30">
                  <c:v>76.05776872350842</c:v>
                </c:pt>
                <c:pt idx="31">
                  <c:v>75.63495119059777</c:v>
                </c:pt>
                <c:pt idx="32">
                  <c:v>75.2159718057105</c:v>
                </c:pt>
                <c:pt idx="33">
                  <c:v>74.80077141763262</c:v>
                </c:pt>
                <c:pt idx="34">
                  <c:v>74.38929243319664</c:v>
                </c:pt>
                <c:pt idx="35">
                  <c:v>73.9814787558669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C$2:$C$37</c:f>
              <c:numCache>
                <c:formatCode>General</c:formatCode>
                <c:ptCount val="36"/>
                <c:pt idx="0">
                  <c:v>121.19143153911132</c:v>
                </c:pt>
                <c:pt idx="1">
                  <c:v>116.67246903306317</c:v>
                </c:pt>
                <c:pt idx="2">
                  <c:v>112.7425842541692</c:v>
                </c:pt>
                <c:pt idx="3">
                  <c:v>109.30447971785449</c:v>
                </c:pt>
                <c:pt idx="4">
                  <c:v>106.27777536094247</c:v>
                </c:pt>
                <c:pt idx="5">
                  <c:v>103.59654395896976</c:v>
                </c:pt>
                <c:pt idx="6">
                  <c:v>103.0562755375166</c:v>
                </c:pt>
                <c:pt idx="7">
                  <c:v>102.52815741813556</c:v>
                </c:pt>
                <c:pt idx="8">
                  <c:v>102.01199924855928</c:v>
                </c:pt>
                <c:pt idx="9">
                  <c:v>101.50759473569538</c:v>
                </c:pt>
                <c:pt idx="10">
                  <c:v>101.01472300276362</c:v>
                </c:pt>
                <c:pt idx="11">
                  <c:v>100.53314995220907</c:v>
                </c:pt>
                <c:pt idx="12">
                  <c:v>100.3966412795801</c:v>
                </c:pt>
                <c:pt idx="13">
                  <c:v>100.26251265117219</c:v>
                </c:pt>
                <c:pt idx="14">
                  <c:v>100.13040553888628</c:v>
                </c:pt>
                <c:pt idx="15">
                  <c:v>100.0</c:v>
                </c:pt>
                <c:pt idx="16">
                  <c:v>98.89197708912299</c:v>
                </c:pt>
                <c:pt idx="17">
                  <c:v>97.81038396576082</c:v>
                </c:pt>
                <c:pt idx="18">
                  <c:v>96.75470831283621</c:v>
                </c:pt>
                <c:pt idx="19">
                  <c:v>95.72444061251815</c:v>
                </c:pt>
                <c:pt idx="20">
                  <c:v>94.71907341305497</c:v>
                </c:pt>
                <c:pt idx="21">
                  <c:v>93.73810064115814</c:v>
                </c:pt>
                <c:pt idx="22">
                  <c:v>92.78101699071992</c:v>
                </c:pt>
                <c:pt idx="23">
                  <c:v>91.8473174137117</c:v>
                </c:pt>
                <c:pt idx="24">
                  <c:v>88.87016114157751</c:v>
                </c:pt>
                <c:pt idx="25">
                  <c:v>86.0457964160536</c:v>
                </c:pt>
                <c:pt idx="26">
                  <c:v>86.33181422310338</c:v>
                </c:pt>
                <c:pt idx="27">
                  <c:v>86.61365137958535</c:v>
                </c:pt>
                <c:pt idx="28">
                  <c:v>86.89135649341114</c:v>
                </c:pt>
                <c:pt idx="29">
                  <c:v>87.16497761283092</c:v>
                </c:pt>
                <c:pt idx="30">
                  <c:v>87.43456223162454</c:v>
                </c:pt>
                <c:pt idx="31">
                  <c:v>87.7001572941898</c:v>
                </c:pt>
                <c:pt idx="32">
                  <c:v>87.96180920054603</c:v>
                </c:pt>
                <c:pt idx="33">
                  <c:v>88.21956381126884</c:v>
                </c:pt>
                <c:pt idx="34">
                  <c:v>88.47346645237401</c:v>
                </c:pt>
                <c:pt idx="35">
                  <c:v>88.7235619201582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D$2:$D$37</c:f>
              <c:numCache>
                <c:formatCode>General</c:formatCode>
                <c:ptCount val="36"/>
                <c:pt idx="0">
                  <c:v>86.03490821132753</c:v>
                </c:pt>
                <c:pt idx="1">
                  <c:v>85.44064293229783</c:v>
                </c:pt>
                <c:pt idx="2">
                  <c:v>85.03134896787586</c:v>
                </c:pt>
                <c:pt idx="3">
                  <c:v>84.77801867852324</c:v>
                </c:pt>
                <c:pt idx="4">
                  <c:v>84.65493602619321</c:v>
                </c:pt>
                <c:pt idx="5">
                  <c:v>84.63994800899133</c:v>
                </c:pt>
                <c:pt idx="6">
                  <c:v>86.2690871119544</c:v>
                </c:pt>
                <c:pt idx="7">
                  <c:v>87.84230604494275</c:v>
                </c:pt>
                <c:pt idx="8">
                  <c:v>89.36226932992979</c:v>
                </c:pt>
                <c:pt idx="9">
                  <c:v>90.83149312365596</c:v>
                </c:pt>
                <c:pt idx="10">
                  <c:v>92.25235198244413</c:v>
                </c:pt>
                <c:pt idx="11">
                  <c:v>93.62708543865512</c:v>
                </c:pt>
                <c:pt idx="12">
                  <c:v>95.27716657747267</c:v>
                </c:pt>
                <c:pt idx="13">
                  <c:v>96.88868712299869</c:v>
                </c:pt>
                <c:pt idx="14">
                  <c:v>98.46264521300992</c:v>
                </c:pt>
                <c:pt idx="15">
                  <c:v>100.0</c:v>
                </c:pt>
                <c:pt idx="16">
                  <c:v>100.50172774911556</c:v>
                </c:pt>
                <c:pt idx="17">
                  <c:v>100.96340983026144</c:v>
                </c:pt>
                <c:pt idx="18">
                  <c:v>101.38771247635599</c:v>
                </c:pt>
                <c:pt idx="19">
                  <c:v>101.77715049851493</c:v>
                </c:pt>
                <c:pt idx="20">
                  <c:v>102.13409400673123</c:v>
                </c:pt>
                <c:pt idx="21">
                  <c:v>102.4607746948191</c:v>
                </c:pt>
                <c:pt idx="22">
                  <c:v>102.75929175991277</c:v>
                </c:pt>
                <c:pt idx="23">
                  <c:v>103.0316175221314</c:v>
                </c:pt>
                <c:pt idx="24">
                  <c:v>100.92586451015562</c:v>
                </c:pt>
                <c:pt idx="25">
                  <c:v>98.89129728015195</c:v>
                </c:pt>
                <c:pt idx="26">
                  <c:v>100.38672100677594</c:v>
                </c:pt>
                <c:pt idx="27">
                  <c:v>101.86420862205772</c:v>
                </c:pt>
                <c:pt idx="28">
                  <c:v>103.32399872993341</c:v>
                </c:pt>
                <c:pt idx="29">
                  <c:v>104.76632536946202</c:v>
                </c:pt>
                <c:pt idx="30">
                  <c:v>106.19141815737558</c:v>
                </c:pt>
                <c:pt idx="31">
                  <c:v>107.5995024237614</c:v>
                </c:pt>
                <c:pt idx="32">
                  <c:v>108.99079934129841</c:v>
                </c:pt>
                <c:pt idx="33">
                  <c:v>110.36552604843762</c:v>
                </c:pt>
                <c:pt idx="34">
                  <c:v>111.7238957668959</c:v>
                </c:pt>
                <c:pt idx="35">
                  <c:v>113.0661179138022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E$2:$E$37</c:f>
              <c:numCache>
                <c:formatCode>General</c:formatCode>
                <c:ptCount val="36"/>
                <c:pt idx="0">
                  <c:v>0.26898271413217456</c:v>
                </c:pt>
                <c:pt idx="1">
                  <c:v>0.2774928105916371</c:v>
                </c:pt>
                <c:pt idx="2">
                  <c:v>0.2858070475238391</c:v>
                </c:pt>
                <c:pt idx="3">
                  <c:v>0.29393210955428484</c:v>
                </c:pt>
                <c:pt idx="4">
                  <c:v>0.3018743805379261</c:v>
                </c:pt>
                <c:pt idx="5">
                  <c:v>0.3096399602872262</c:v>
                </c:pt>
                <c:pt idx="6">
                  <c:v>0.3172346801960574</c:v>
                </c:pt>
                <c:pt idx="7">
                  <c:v>0.32466411784354327</c:v>
                </c:pt>
                <c:pt idx="8">
                  <c:v>0.33193361065470006</c:v>
                </c:pt>
                <c:pt idx="9">
                  <c:v>0.3390482686881965</c:v>
                </c:pt>
                <c:pt idx="10">
                  <c:v>0.34601298661561264</c:v>
                </c:pt>
                <c:pt idx="11">
                  <c:v>0.35283245495121607</c:v>
                </c:pt>
                <c:pt idx="12">
                  <c:v>0.3595111705863944</c:v>
                </c:pt>
                <c:pt idx="13">
                  <c:v>0.3660534466784642</c:v>
                </c:pt>
                <c:pt idx="14">
                  <c:v>0.3724634219395515</c:v>
                </c:pt>
                <c:pt idx="15">
                  <c:v>0.37874506936758373</c:v>
                </c:pt>
                <c:pt idx="16">
                  <c:v>0.38490220445809353</c:v>
                </c:pt>
                <c:pt idx="17">
                  <c:v>0.3909384929324989</c:v>
                </c:pt>
                <c:pt idx="18">
                  <c:v>0.3968574580157593</c:v>
                </c:pt>
                <c:pt idx="19">
                  <c:v>0.4026624872937598</c:v>
                </c:pt>
                <c:pt idx="20">
                  <c:v>0.40835683917847126</c:v>
                </c:pt>
                <c:pt idx="21">
                  <c:v>0.4139436490068143</c:v>
                </c:pt>
                <c:pt idx="22">
                  <c:v>0.41942593479720874</c:v>
                </c:pt>
                <c:pt idx="23">
                  <c:v>0.42480660268602066</c:v>
                </c:pt>
                <c:pt idx="24">
                  <c:v>0.43008845206447793</c:v>
                </c:pt>
                <c:pt idx="25">
                  <c:v>0.4352741804351378</c:v>
                </c:pt>
                <c:pt idx="26">
                  <c:v>0.4403663880056056</c:v>
                </c:pt>
                <c:pt idx="27">
                  <c:v>0.4453675820359395</c:v>
                </c:pt>
                <c:pt idx="28">
                  <c:v>0.4502801809550191</c:v>
                </c:pt>
                <c:pt idx="29">
                  <c:v>0.45510651826006693</c:v>
                </c:pt>
                <c:pt idx="30">
                  <c:v>0.45984884621254674</c:v>
                </c:pt>
                <c:pt idx="31">
                  <c:v>0.4645093393427232</c:v>
                </c:pt>
                <c:pt idx="32">
                  <c:v>0.469090097774351</c:v>
                </c:pt>
                <c:pt idx="33">
                  <c:v>0.4735931503801667</c:v>
                </c:pt>
                <c:pt idx="34">
                  <c:v>0.47802045777814656</c:v>
                </c:pt>
                <c:pt idx="35">
                  <c:v>0.4823739151778285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B$2:$B$37</c:f>
              <c:numCache>
                <c:formatCode>General</c:formatCode>
                <c:ptCount val="36"/>
                <c:pt idx="0">
                  <c:v>134.877092397564</c:v>
                </c:pt>
                <c:pt idx="1">
                  <c:v>129.3343898129152</c:v>
                </c:pt>
                <c:pt idx="2">
                  <c:v>124.46542958130738</c:v>
                </c:pt>
                <c:pt idx="3">
                  <c:v>120.1525177876041</c:v>
                </c:pt>
                <c:pt idx="4">
                  <c:v>116.30164923403345</c:v>
                </c:pt>
                <c:pt idx="5">
                  <c:v>112.83758522208885</c:v>
                </c:pt>
                <c:pt idx="6">
                  <c:v>111.21687688126039</c:v>
                </c:pt>
                <c:pt idx="7">
                  <c:v>109.63980804433604</c:v>
                </c:pt>
                <c:pt idx="8">
                  <c:v>108.10465698021005</c:v>
                </c:pt>
                <c:pt idx="9">
                  <c:v>106.60978372731675</c:v>
                </c:pt>
                <c:pt idx="10">
                  <c:v>105.15362637686528</c:v>
                </c:pt>
                <c:pt idx="11">
                  <c:v>103.73469745633948</c:v>
                </c:pt>
                <c:pt idx="12">
                  <c:v>102.77606286063963</c:v>
                </c:pt>
                <c:pt idx="13">
                  <c:v>101.83447138157113</c:v>
                </c:pt>
                <c:pt idx="14">
                  <c:v>100.90930858696585</c:v>
                </c:pt>
                <c:pt idx="15">
                  <c:v>100.0</c:v>
                </c:pt>
                <c:pt idx="16">
                  <c:v>98.57141625176821</c:v>
                </c:pt>
                <c:pt idx="17">
                  <c:v>97.18497413998554</c:v>
                </c:pt>
                <c:pt idx="18">
                  <c:v>95.83874086730216</c:v>
                </c:pt>
                <c:pt idx="19">
                  <c:v>94.53089814834291</c:v>
                </c:pt>
                <c:pt idx="20">
                  <c:v>93.25973453142478</c:v>
                </c:pt>
                <c:pt idx="21">
                  <c:v>92.02363822017192</c:v>
                </c:pt>
                <c:pt idx="22">
                  <c:v>90.82109038021274</c:v>
                </c:pt>
                <c:pt idx="23">
                  <c:v>89.65065891137934</c:v>
                </c:pt>
                <c:pt idx="24">
                  <c:v>87.30122186119365</c:v>
                </c:pt>
                <c:pt idx="25">
                  <c:v>85.06153071289879</c:v>
                </c:pt>
                <c:pt idx="26">
                  <c:v>84.71935563768656</c:v>
                </c:pt>
                <c:pt idx="27">
                  <c:v>84.3798894357377</c:v>
                </c:pt>
                <c:pt idx="28">
                  <c:v>84.04309559038423</c:v>
                </c:pt>
                <c:pt idx="29">
                  <c:v>83.70893838025258</c:v>
                </c:pt>
                <c:pt idx="30">
                  <c:v>83.3773828526018</c:v>
                </c:pt>
                <c:pt idx="31">
                  <c:v>83.04839479790124</c:v>
                </c:pt>
                <c:pt idx="32">
                  <c:v>82.72194072557626</c:v>
                </c:pt>
                <c:pt idx="33">
                  <c:v>82.39798784085849</c:v>
                </c:pt>
                <c:pt idx="34">
                  <c:v>82.07650402268108</c:v>
                </c:pt>
                <c:pt idx="35">
                  <c:v>81.757457802555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C$2:$C$37</c:f>
              <c:numCache>
                <c:formatCode>General</c:formatCode>
                <c:ptCount val="36"/>
                <c:pt idx="0">
                  <c:v>114.76225209970035</c:v>
                </c:pt>
                <c:pt idx="1">
                  <c:v>111.33955009324816</c:v>
                </c:pt>
                <c:pt idx="2">
                  <c:v>108.39181753134794</c:v>
                </c:pt>
                <c:pt idx="3">
                  <c:v>105.83584061465207</c:v>
                </c:pt>
                <c:pt idx="4">
                  <c:v>103.60473513869483</c:v>
                </c:pt>
                <c:pt idx="5">
                  <c:v>101.6447149951325</c:v>
                </c:pt>
                <c:pt idx="6">
                  <c:v>101.28855459278962</c:v>
                </c:pt>
                <c:pt idx="7">
                  <c:v>100.94045781285644</c:v>
                </c:pt>
                <c:pt idx="8">
                  <c:v>100.60011787068444</c:v>
                </c:pt>
                <c:pt idx="9">
                  <c:v>100.26723683473193</c:v>
                </c:pt>
                <c:pt idx="10">
                  <c:v>99.94152612693328</c:v>
                </c:pt>
                <c:pt idx="11">
                  <c:v>99.62270689990832</c:v>
                </c:pt>
                <c:pt idx="12">
                  <c:v>99.72059173385323</c:v>
                </c:pt>
                <c:pt idx="13">
                  <c:v>99.81616640845235</c:v>
                </c:pt>
                <c:pt idx="14">
                  <c:v>99.90933071355789</c:v>
                </c:pt>
                <c:pt idx="15">
                  <c:v>100.0</c:v>
                </c:pt>
                <c:pt idx="16">
                  <c:v>99.55073427886389</c:v>
                </c:pt>
                <c:pt idx="17">
                  <c:v>99.11609264606915</c:v>
                </c:pt>
                <c:pt idx="18">
                  <c:v>98.6953384585491</c:v>
                </c:pt>
                <c:pt idx="19">
                  <c:v>98.28777753752516</c:v>
                </c:pt>
                <c:pt idx="20">
                  <c:v>97.8927557734569</c:v>
                </c:pt>
                <c:pt idx="21">
                  <c:v>97.5096568060075</c:v>
                </c:pt>
                <c:pt idx="22">
                  <c:v>97.13789979751026</c:v>
                </c:pt>
                <c:pt idx="23">
                  <c:v>96.7769373121651</c:v>
                </c:pt>
                <c:pt idx="24">
                  <c:v>95.11268247141749</c:v>
                </c:pt>
                <c:pt idx="25">
                  <c:v>93.52223866107596</c:v>
                </c:pt>
                <c:pt idx="26">
                  <c:v>93.98501741920826</c:v>
                </c:pt>
                <c:pt idx="27">
                  <c:v>94.44396676877106</c:v>
                </c:pt>
                <c:pt idx="28">
                  <c:v>94.89912801545384</c:v>
                </c:pt>
                <c:pt idx="29">
                  <c:v>95.35054187691607</c:v>
                </c:pt>
                <c:pt idx="30">
                  <c:v>95.79824849276503</c:v>
                </c:pt>
                <c:pt idx="31">
                  <c:v>96.2422874343468</c:v>
                </c:pt>
                <c:pt idx="32">
                  <c:v>96.6826977143559</c:v>
                </c:pt>
                <c:pt idx="33">
                  <c:v>97.11951779627007</c:v>
                </c:pt>
                <c:pt idx="34">
                  <c:v>97.55278560361768</c:v>
                </c:pt>
                <c:pt idx="35">
                  <c:v>97.982538529075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D$2:$D$37</c:f>
              <c:numCache>
                <c:formatCode>General</c:formatCode>
                <c:ptCount val="36"/>
                <c:pt idx="0">
                  <c:v>84.010022142709</c:v>
                </c:pt>
                <c:pt idx="1">
                  <c:v>83.80567918605284</c:v>
                </c:pt>
                <c:pt idx="2">
                  <c:v>83.77701692560751</c:v>
                </c:pt>
                <c:pt idx="3">
                  <c:v>83.89246014834309</c:v>
                </c:pt>
                <c:pt idx="4">
                  <c:v>84.12578837260487</c:v>
                </c:pt>
                <c:pt idx="5">
                  <c:v>84.4554145719075</c:v>
                </c:pt>
                <c:pt idx="6">
                  <c:v>86.03953411898524</c:v>
                </c:pt>
                <c:pt idx="7">
                  <c:v>87.57693002535427</c:v>
                </c:pt>
                <c:pt idx="8">
                  <c:v>89.06948200502353</c:v>
                </c:pt>
                <c:pt idx="9">
                  <c:v>90.5189654782447</c:v>
                </c:pt>
                <c:pt idx="10">
                  <c:v>91.92705865522855</c:v>
                </c:pt>
                <c:pt idx="11">
                  <c:v>93.29534914397216</c:v>
                </c:pt>
                <c:pt idx="12">
                  <c:v>95.01895112367555</c:v>
                </c:pt>
                <c:pt idx="13">
                  <c:v>96.71047144687459</c:v>
                </c:pt>
                <c:pt idx="14">
                  <c:v>98.37059881501024</c:v>
                </c:pt>
                <c:pt idx="15">
                  <c:v>100.0</c:v>
                </c:pt>
                <c:pt idx="16">
                  <c:v>101.05009272614231</c:v>
                </c:pt>
                <c:pt idx="17">
                  <c:v>102.07258159393513</c:v>
                </c:pt>
                <c:pt idx="18">
                  <c:v>103.06856882195716</c:v>
                </c:pt>
                <c:pt idx="19">
                  <c:v>104.039088068196</c:v>
                </c:pt>
                <c:pt idx="20">
                  <c:v>104.98511020637909</c:v>
                </c:pt>
                <c:pt idx="21">
                  <c:v>105.90754851610423</c:v>
                </c:pt>
                <c:pt idx="22">
                  <c:v>106.80726335778444</c:v>
                </c:pt>
                <c:pt idx="23">
                  <c:v>107.68506639465278</c:v>
                </c:pt>
                <c:pt idx="24">
                  <c:v>107.05708928333537</c:v>
                </c:pt>
                <c:pt idx="25">
                  <c:v>106.4483906942225</c:v>
                </c:pt>
                <c:pt idx="26">
                  <c:v>108.15141166521951</c:v>
                </c:pt>
                <c:pt idx="27">
                  <c:v>109.8407330922381</c:v>
                </c:pt>
                <c:pt idx="28">
                  <c:v>111.51651119521189</c:v>
                </c:pt>
                <c:pt idx="29">
                  <c:v>113.17889958903177</c:v>
                </c:pt>
                <c:pt idx="30">
                  <c:v>114.8280493470316</c:v>
                </c:pt>
                <c:pt idx="31">
                  <c:v>116.46410906217936</c:v>
                </c:pt>
                <c:pt idx="32">
                  <c:v>118.08722490609405</c:v>
                </c:pt>
                <c:pt idx="33">
                  <c:v>119.69754068600014</c:v>
                </c:pt>
                <c:pt idx="34">
                  <c:v>121.29519789972645</c:v>
                </c:pt>
                <c:pt idx="35">
                  <c:v>122.880335788839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E$2:$E$37</c:f>
              <c:numCache>
                <c:formatCode>General</c:formatCode>
                <c:ptCount val="36"/>
                <c:pt idx="0">
                  <c:v>0.29138351937989215</c:v>
                </c:pt>
                <c:pt idx="1">
                  <c:v>0.299632838129835</c:v>
                </c:pt>
                <c:pt idx="2">
                  <c:v>0.3076922991409993</c:v>
                </c:pt>
                <c:pt idx="3">
                  <c:v>0.3155683821996907</c:v>
                </c:pt>
                <c:pt idx="4">
                  <c:v>0.3232672755382773</c:v>
                </c:pt>
                <c:pt idx="5">
                  <c:v>0.3307948920506434</c:v>
                </c:pt>
                <c:pt idx="6">
                  <c:v>0.33815688443732483</c:v>
                </c:pt>
                <c:pt idx="7">
                  <c:v>0.3453586593618372</c:v>
                </c:pt>
                <c:pt idx="8">
                  <c:v>0.3524053906927107</c:v>
                </c:pt>
                <c:pt idx="9">
                  <c:v>0.3593020318993912</c:v>
                </c:pt>
                <c:pt idx="10">
                  <c:v>0.3660533276644135</c:v>
                </c:pt>
                <c:pt idx="11">
                  <c:v>0.3726638247690598</c:v>
                </c:pt>
                <c:pt idx="12">
                  <c:v>0.37913788230498274</c:v>
                </c:pt>
                <c:pt idx="13">
                  <c:v>0.38547968125998827</c:v>
                </c:pt>
                <c:pt idx="14">
                  <c:v>0.3916932335222733</c:v>
                </c:pt>
                <c:pt idx="15">
                  <c:v>0.3977823903438721</c:v>
                </c:pt>
                <c:pt idx="16">
                  <c:v>0.4037508503008209</c:v>
                </c:pt>
                <c:pt idx="17">
                  <c:v>0.40960216678462036</c:v>
                </c:pt>
                <c:pt idx="18">
                  <c:v>0.41533975505687887</c:v>
                </c:pt>
                <c:pt idx="19">
                  <c:v>0.4209668988965626</c:v>
                </c:pt>
                <c:pt idx="20">
                  <c:v>0.4264867568670433</c:v>
                </c:pt>
                <c:pt idx="21">
                  <c:v>0.431902368228072</c:v>
                </c:pt>
                <c:pt idx="22">
                  <c:v>0.4372166585159292</c:v>
                </c:pt>
                <c:pt idx="23">
                  <c:v>0.44243244481327937</c:v>
                </c:pt>
                <c:pt idx="24">
                  <c:v>0.4475524407286761</c:v>
                </c:pt>
                <c:pt idx="25">
                  <c:v>0.4525792611042113</c:v>
                </c:pt>
                <c:pt idx="26">
                  <c:v>0.4575154264684657</c:v>
                </c:pt>
                <c:pt idx="27">
                  <c:v>0.4623633672506955</c:v>
                </c:pt>
                <c:pt idx="28">
                  <c:v>0.4671254277710615</c:v>
                </c:pt>
                <c:pt idx="29">
                  <c:v>0.47180387002065693</c:v>
                </c:pt>
                <c:pt idx="30">
                  <c:v>0.4764008772441498</c:v>
                </c:pt>
                <c:pt idx="31">
                  <c:v>0.480918557336953</c:v>
                </c:pt>
                <c:pt idx="32">
                  <c:v>0.4853589460680312</c:v>
                </c:pt>
                <c:pt idx="33">
                  <c:v>0.48972401013870104</c:v>
                </c:pt>
                <c:pt idx="34">
                  <c:v>0.4940156500870717</c:v>
                </c:pt>
                <c:pt idx="35">
                  <c:v>0.498235703047146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B$2:$B$37</c:f>
              <c:numCache>
                <c:formatCode>General</c:formatCode>
                <c:ptCount val="36"/>
                <c:pt idx="0">
                  <c:v>130.27665740741358</c:v>
                </c:pt>
                <c:pt idx="1">
                  <c:v>127.07780803267572</c:v>
                </c:pt>
                <c:pt idx="2">
                  <c:v>124.19471966426288</c:v>
                </c:pt>
                <c:pt idx="3">
                  <c:v>121.57463940690687</c:v>
                </c:pt>
                <c:pt idx="4">
                  <c:v>119.17584775209751</c:v>
                </c:pt>
                <c:pt idx="5">
                  <c:v>116.96505398851207</c:v>
                </c:pt>
                <c:pt idx="6">
                  <c:v>115.65036401622926</c:v>
                </c:pt>
                <c:pt idx="7">
                  <c:v>114.36402649063002</c:v>
                </c:pt>
                <c:pt idx="8">
                  <c:v>113.1050388588112</c:v>
                </c:pt>
                <c:pt idx="9">
                  <c:v>111.87244850160391</c:v>
                </c:pt>
                <c:pt idx="10">
                  <c:v>110.66534963280534</c:v>
                </c:pt>
                <c:pt idx="11">
                  <c:v>109.48288041369626</c:v>
                </c:pt>
                <c:pt idx="12">
                  <c:v>106.93111305970866</c:v>
                </c:pt>
                <c:pt idx="13">
                  <c:v>104.5059438360275</c:v>
                </c:pt>
                <c:pt idx="14">
                  <c:v>102.19835556444046</c:v>
                </c:pt>
                <c:pt idx="15">
                  <c:v>100.0</c:v>
                </c:pt>
                <c:pt idx="16">
                  <c:v>98.6920042812619</c:v>
                </c:pt>
                <c:pt idx="17">
                  <c:v>97.4192950481577</c:v>
                </c:pt>
                <c:pt idx="18">
                  <c:v>96.18035375891559</c:v>
                </c:pt>
                <c:pt idx="19">
                  <c:v>94.97374743021398</c:v>
                </c:pt>
                <c:pt idx="20">
                  <c:v>93.79812287913259</c:v>
                </c:pt>
                <c:pt idx="21">
                  <c:v>92.6522014131454</c:v>
                </c:pt>
                <c:pt idx="22">
                  <c:v>91.53477392816657</c:v>
                </c:pt>
                <c:pt idx="23">
                  <c:v>90.44469637869737</c:v>
                </c:pt>
                <c:pt idx="24">
                  <c:v>87.31681999780598</c:v>
                </c:pt>
                <c:pt idx="25">
                  <c:v>84.36810431286142</c:v>
                </c:pt>
                <c:pt idx="26">
                  <c:v>83.63358867298369</c:v>
                </c:pt>
                <c:pt idx="27">
                  <c:v>82.91344531434581</c:v>
                </c:pt>
                <c:pt idx="28">
                  <c:v>82.2071937884711</c:v>
                </c:pt>
                <c:pt idx="29">
                  <c:v>81.51437453362743</c:v>
                </c:pt>
                <c:pt idx="30">
                  <c:v>80.83454786053916</c:v>
                </c:pt>
                <c:pt idx="31">
                  <c:v>80.16729298755634</c:v>
                </c:pt>
                <c:pt idx="32">
                  <c:v>79.5122071232872</c:v>
                </c:pt>
                <c:pt idx="33">
                  <c:v>78.86890459470548</c:v>
                </c:pt>
                <c:pt idx="34">
                  <c:v>78.23701601875715</c:v>
                </c:pt>
                <c:pt idx="35">
                  <c:v>77.6161875155185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C$2:$C$37</c:f>
              <c:numCache>
                <c:formatCode>General</c:formatCode>
                <c:ptCount val="36"/>
                <c:pt idx="0">
                  <c:v>110.80313849786887</c:v>
                </c:pt>
                <c:pt idx="1">
                  <c:v>109.35007208703178</c:v>
                </c:pt>
                <c:pt idx="2">
                  <c:v>108.10782085544757</c:v>
                </c:pt>
                <c:pt idx="3">
                  <c:v>107.03943614301336</c:v>
                </c:pt>
                <c:pt idx="4">
                  <c:v>106.11567714076871</c:v>
                </c:pt>
                <c:pt idx="5">
                  <c:v>105.31321910677471</c:v>
                </c:pt>
                <c:pt idx="6">
                  <c:v>105.28054707283513</c:v>
                </c:pt>
                <c:pt idx="7">
                  <c:v>105.24779840078477</c:v>
                </c:pt>
                <c:pt idx="8">
                  <c:v>105.21488734655335</c:v>
                </c:pt>
                <c:pt idx="9">
                  <c:v>105.18173519352834</c:v>
                </c:pt>
                <c:pt idx="10">
                  <c:v>105.14826979021224</c:v>
                </c:pt>
                <c:pt idx="11">
                  <c:v>105.11442510961284</c:v>
                </c:pt>
                <c:pt idx="12">
                  <c:v>103.73102955895703</c:v>
                </c:pt>
                <c:pt idx="13">
                  <c:v>102.4208753028897</c:v>
                </c:pt>
                <c:pt idx="14">
                  <c:v>101.17881189092313</c:v>
                </c:pt>
                <c:pt idx="15">
                  <c:v>100.0</c:v>
                </c:pt>
                <c:pt idx="16">
                  <c:v>99.67536028409945</c:v>
                </c:pt>
                <c:pt idx="17">
                  <c:v>99.36066215691751</c:v>
                </c:pt>
                <c:pt idx="18">
                  <c:v>99.05539520503689</c:v>
                </c:pt>
                <c:pt idx="19">
                  <c:v>98.75907757738467</c:v>
                </c:pt>
                <c:pt idx="20">
                  <c:v>98.47125419150278</c:v>
                </c:pt>
                <c:pt idx="21">
                  <c:v>98.19149507155109</c:v>
                </c:pt>
                <c:pt idx="22">
                  <c:v>97.91939380639249</c:v>
                </c:pt>
                <c:pt idx="23">
                  <c:v>97.6545661172905</c:v>
                </c:pt>
                <c:pt idx="24">
                  <c:v>95.15257012992933</c:v>
                </c:pt>
                <c:pt idx="25">
                  <c:v>92.78488620774617</c:v>
                </c:pt>
                <c:pt idx="26">
                  <c:v>92.81016718027136</c:v>
                </c:pt>
                <c:pt idx="27">
                  <c:v>92.83689798592476</c:v>
                </c:pt>
                <c:pt idx="28">
                  <c:v>92.8649657191559</c:v>
                </c:pt>
                <c:pt idx="29">
                  <c:v>92.89426213399234</c:v>
                </c:pt>
                <c:pt idx="30">
                  <c:v>92.92468351747868</c:v>
                </c:pt>
                <c:pt idx="31">
                  <c:v>92.95613055992933</c:v>
                </c:pt>
                <c:pt idx="32">
                  <c:v>92.9885082231042</c:v>
                </c:pt>
                <c:pt idx="33">
                  <c:v>93.02172560726498</c:v>
                </c:pt>
                <c:pt idx="34">
                  <c:v>93.05569581792741</c:v>
                </c:pt>
                <c:pt idx="35">
                  <c:v>93.090335832999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D$2:$D$37</c:f>
              <c:numCache>
                <c:formatCode>General</c:formatCode>
                <c:ptCount val="36"/>
                <c:pt idx="0">
                  <c:v>79.66967446227869</c:v>
                </c:pt>
                <c:pt idx="1">
                  <c:v>81.0035753266142</c:v>
                </c:pt>
                <c:pt idx="2">
                  <c:v>82.38147896371709</c:v>
                </c:pt>
                <c:pt idx="3">
                  <c:v>83.79149883994059</c:v>
                </c:pt>
                <c:pt idx="4">
                  <c:v>85.22418898010709</c:v>
                </c:pt>
                <c:pt idx="5">
                  <c:v>86.6720386318697</c:v>
                </c:pt>
                <c:pt idx="6">
                  <c:v>88.69429696476571</c:v>
                </c:pt>
                <c:pt idx="7">
                  <c:v>90.67081400947394</c:v>
                </c:pt>
                <c:pt idx="8">
                  <c:v>92.60297892760252</c:v>
                </c:pt>
                <c:pt idx="9">
                  <c:v>94.49211873668408</c:v>
                </c:pt>
                <c:pt idx="10">
                  <c:v>96.33950211248906</c:v>
                </c:pt>
                <c:pt idx="11">
                  <c:v>98.14634289928456</c:v>
                </c:pt>
                <c:pt idx="12">
                  <c:v>98.62692331457458</c:v>
                </c:pt>
                <c:pt idx="13">
                  <c:v>99.09540260816702</c:v>
                </c:pt>
                <c:pt idx="14">
                  <c:v>99.55283271362617</c:v>
                </c:pt>
                <c:pt idx="15">
                  <c:v>100.0</c:v>
                </c:pt>
                <c:pt idx="16">
                  <c:v>101.2476368685918</c:v>
                </c:pt>
                <c:pt idx="17">
                  <c:v>102.46459599284454</c:v>
                </c:pt>
                <c:pt idx="18">
                  <c:v>103.65198600895408</c:v>
                </c:pt>
                <c:pt idx="19">
                  <c:v>104.81085235907739</c:v>
                </c:pt>
                <c:pt idx="20">
                  <c:v>105.94218189627445</c:v>
                </c:pt>
                <c:pt idx="21">
                  <c:v>107.04690710920694</c:v>
                </c:pt>
                <c:pt idx="22">
                  <c:v>108.12591000094534</c:v>
                </c:pt>
                <c:pt idx="23">
                  <c:v>109.1800256527847</c:v>
                </c:pt>
                <c:pt idx="24">
                  <c:v>107.6610860617941</c:v>
                </c:pt>
                <c:pt idx="25">
                  <c:v>106.2061002386295</c:v>
                </c:pt>
                <c:pt idx="26">
                  <c:v>107.44731173747444</c:v>
                </c:pt>
                <c:pt idx="27">
                  <c:v>108.66928960283605</c:v>
                </c:pt>
                <c:pt idx="28">
                  <c:v>109.87250965924846</c:v>
                </c:pt>
                <c:pt idx="29">
                  <c:v>111.05742633876747</c:v>
                </c:pt>
                <c:pt idx="30">
                  <c:v>112.22447398313318</c:v>
                </c:pt>
                <c:pt idx="31">
                  <c:v>113.37406805780246</c:v>
                </c:pt>
                <c:pt idx="32">
                  <c:v>114.5066062839874</c:v>
                </c:pt>
                <c:pt idx="33">
                  <c:v>115.62246969442751</c:v>
                </c:pt>
                <c:pt idx="34">
                  <c:v>116.72202361822058</c:v>
                </c:pt>
                <c:pt idx="35">
                  <c:v>117.8056185996786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E$2:$E$37</c:f>
              <c:numCache>
                <c:formatCode>General</c:formatCode>
                <c:ptCount val="36"/>
                <c:pt idx="0">
                  <c:v>0.2777222614255692</c:v>
                </c:pt>
                <c:pt idx="1">
                  <c:v>0.28613061693865927</c:v>
                </c:pt>
                <c:pt idx="2">
                  <c:v>0.2943454544882715</c:v>
                </c:pt>
                <c:pt idx="3">
                  <c:v>0.30237337878305837</c:v>
                </c:pt>
                <c:pt idx="4">
                  <c:v>0.3102206973569271</c:v>
                </c:pt>
                <c:pt idx="5">
                  <c:v>0.3178934370971171</c:v>
                </c:pt>
                <c:pt idx="6">
                  <c:v>0.3253973596813071</c:v>
                </c:pt>
                <c:pt idx="7">
                  <c:v>0.33273797600686433</c:v>
                </c:pt>
                <c:pt idx="8">
                  <c:v>0.3399205596881683</c:v>
                </c:pt>
                <c:pt idx="9">
                  <c:v>0.3469501596914891</c:v>
                </c:pt>
                <c:pt idx="10">
                  <c:v>0.35383161217103093</c:v>
                </c:pt>
                <c:pt idx="11">
                  <c:v>0.3605695515644507</c:v>
                </c:pt>
                <c:pt idx="12">
                  <c:v>0.36716842100135033</c:v>
                </c:pt>
                <c:pt idx="13">
                  <c:v>0.3736324820738596</c:v>
                </c:pt>
                <c:pt idx="14">
                  <c:v>0.37996582401446755</c:v>
                </c:pt>
                <c:pt idx="15">
                  <c:v>0.38617237232263085</c:v>
                </c:pt>
                <c:pt idx="16">
                  <c:v>0.39225589687840257</c:v>
                </c:pt>
                <c:pt idx="17">
                  <c:v>0.39822001957832026</c:v>
                </c:pt>
                <c:pt idx="18">
                  <c:v>0.40406822152605265</c:v>
                </c:pt>
                <c:pt idx="19">
                  <c:v>0.40980384980780404</c:v>
                </c:pt>
                <c:pt idx="20">
                  <c:v>0.4154301238801793</c:v>
                </c:pt>
                <c:pt idx="21">
                  <c:v>0.42095014159613614</c:v>
                </c:pt>
                <c:pt idx="22">
                  <c:v>0.4263668848927113</c:v>
                </c:pt>
                <c:pt idx="23">
                  <c:v>0.4316832251624726</c:v>
                </c:pt>
                <c:pt idx="24">
                  <c:v>0.4369019283290251</c:v>
                </c:pt>
                <c:pt idx="25">
                  <c:v>0.44202565964541235</c:v>
                </c:pt>
                <c:pt idx="26">
                  <c:v>0.4470569882329199</c:v>
                </c:pt>
                <c:pt idx="27">
                  <c:v>0.4519983913765041</c:v>
                </c:pt>
                <c:pt idx="28">
                  <c:v>0.4568522585919474</c:v>
                </c:pt>
                <c:pt idx="29">
                  <c:v>0.4616208954787606</c:v>
                </c:pt>
                <c:pt idx="30">
                  <c:v>0.4663065273718958</c:v>
                </c:pt>
                <c:pt idx="31">
                  <c:v>0.4709113028044078</c:v>
                </c:pt>
                <c:pt idx="32">
                  <c:v>0.47543729679239377</c:v>
                </c:pt>
                <c:pt idx="33">
                  <c:v>0.47988651395276377</c:v>
                </c:pt>
                <c:pt idx="34">
                  <c:v>0.48426089146367374</c:v>
                </c:pt>
                <c:pt idx="35">
                  <c:v>0.48856230187682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B$2:$B$37</c:f>
              <c:numCache>
                <c:formatCode>General</c:formatCode>
                <c:ptCount val="36"/>
                <c:pt idx="0">
                  <c:v>130.80968033855748</c:v>
                </c:pt>
                <c:pt idx="1">
                  <c:v>126.94320370475982</c:v>
                </c:pt>
                <c:pt idx="2">
                  <c:v>123.4737085432291</c:v>
                </c:pt>
                <c:pt idx="3">
                  <c:v>120.33613595094121</c:v>
                </c:pt>
                <c:pt idx="4">
                  <c:v>117.47855019262184</c:v>
                </c:pt>
                <c:pt idx="5">
                  <c:v>114.85918872755386</c:v>
                </c:pt>
                <c:pt idx="6">
                  <c:v>113.475286647567</c:v>
                </c:pt>
                <c:pt idx="7">
                  <c:v>112.12327938513415</c:v>
                </c:pt>
                <c:pt idx="8">
                  <c:v>110.80202693452614</c:v>
                </c:pt>
                <c:pt idx="9">
                  <c:v>109.5104416545316</c:v>
                </c:pt>
                <c:pt idx="10">
                  <c:v>108.24748556652884</c:v>
                </c:pt>
                <c:pt idx="11">
                  <c:v>107.01216779341294</c:v>
                </c:pt>
                <c:pt idx="12">
                  <c:v>105.15737769875169</c:v>
                </c:pt>
                <c:pt idx="13">
                  <c:v>103.373347570312</c:v>
                </c:pt>
                <c:pt idx="14">
                  <c:v>101.65560358578156</c:v>
                </c:pt>
                <c:pt idx="15">
                  <c:v>100.0</c:v>
                </c:pt>
                <c:pt idx="16">
                  <c:v>98.62334481063864</c:v>
                </c:pt>
                <c:pt idx="17">
                  <c:v>97.28463399911688</c:v>
                </c:pt>
                <c:pt idx="18">
                  <c:v>95.98228695342694</c:v>
                </c:pt>
                <c:pt idx="19">
                  <c:v>94.71480781797807</c:v>
                </c:pt>
                <c:pt idx="20">
                  <c:v>93.48078001325345</c:v>
                </c:pt>
                <c:pt idx="21">
                  <c:v>92.2788611686072</c:v>
                </c:pt>
                <c:pt idx="22">
                  <c:v>91.10777843384152</c:v>
                </c:pt>
                <c:pt idx="23">
                  <c:v>89.96632413789656</c:v>
                </c:pt>
                <c:pt idx="24">
                  <c:v>87.09886792979307</c:v>
                </c:pt>
                <c:pt idx="25">
                  <c:v>84.38208782536972</c:v>
                </c:pt>
                <c:pt idx="26">
                  <c:v>83.80101916886929</c:v>
                </c:pt>
                <c:pt idx="27">
                  <c:v>83.22825281373431</c:v>
                </c:pt>
                <c:pt idx="28">
                  <c:v>82.66357698316979</c:v>
                </c:pt>
                <c:pt idx="29">
                  <c:v>82.10678768960578</c:v>
                </c:pt>
                <c:pt idx="30">
                  <c:v>81.55768838766028</c:v>
                </c:pt>
                <c:pt idx="31">
                  <c:v>81.01608964353575</c:v>
                </c:pt>
                <c:pt idx="32">
                  <c:v>80.48180882015012</c:v>
                </c:pt>
                <c:pt idx="33">
                  <c:v>79.9546697773144</c:v>
                </c:pt>
                <c:pt idx="34">
                  <c:v>79.43450258628253</c:v>
                </c:pt>
                <c:pt idx="35">
                  <c:v>78.921143258020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C$2:$C$37</c:f>
              <c:numCache>
                <c:formatCode>General</c:formatCode>
                <c:ptCount val="36"/>
                <c:pt idx="0">
                  <c:v>111.37541775769719</c:v>
                </c:pt>
                <c:pt idx="1">
                  <c:v>109.34596318045018</c:v>
                </c:pt>
                <c:pt idx="2">
                  <c:v>107.58487836723754</c:v>
                </c:pt>
                <c:pt idx="3">
                  <c:v>106.04681465587188</c:v>
                </c:pt>
                <c:pt idx="4">
                  <c:v>104.69549641494527</c:v>
                </c:pt>
                <c:pt idx="5">
                  <c:v>103.5017241738738</c:v>
                </c:pt>
                <c:pt idx="6">
                  <c:v>103.37548817818043</c:v>
                </c:pt>
                <c:pt idx="7">
                  <c:v>103.25131639256217</c:v>
                </c:pt>
                <c:pt idx="8">
                  <c:v>103.12909148173273</c:v>
                </c:pt>
                <c:pt idx="9">
                  <c:v>103.00870043506207</c:v>
                </c:pt>
                <c:pt idx="10">
                  <c:v>102.89003457535667</c:v>
                </c:pt>
                <c:pt idx="11">
                  <c:v>102.77298954344687</c:v>
                </c:pt>
                <c:pt idx="12">
                  <c:v>102.03291805245753</c:v>
                </c:pt>
                <c:pt idx="13">
                  <c:v>101.32559755836586</c:v>
                </c:pt>
                <c:pt idx="14">
                  <c:v>100.64868749350708</c:v>
                </c:pt>
                <c:pt idx="15">
                  <c:v>100.0</c:v>
                </c:pt>
                <c:pt idx="16">
                  <c:v>99.59999826649951</c:v>
                </c:pt>
                <c:pt idx="17">
                  <c:v>99.21148545228866</c:v>
                </c:pt>
                <c:pt idx="18">
                  <c:v>98.83395679914369</c:v>
                </c:pt>
                <c:pt idx="19">
                  <c:v>98.46693341929486</c:v>
                </c:pt>
                <c:pt idx="20">
                  <c:v>98.10996070827605</c:v>
                </c:pt>
                <c:pt idx="21">
                  <c:v>97.76260687291133</c:v>
                </c:pt>
                <c:pt idx="22">
                  <c:v>97.42446156600005</c:v>
                </c:pt>
                <c:pt idx="23">
                  <c:v>97.09513461948556</c:v>
                </c:pt>
                <c:pt idx="24">
                  <c:v>94.87409025643139</c:v>
                </c:pt>
                <c:pt idx="25">
                  <c:v>92.76119775588386</c:v>
                </c:pt>
                <c:pt idx="26">
                  <c:v>92.95029170749984</c:v>
                </c:pt>
                <c:pt idx="27">
                  <c:v>93.13714796746216</c:v>
                </c:pt>
                <c:pt idx="28">
                  <c:v>93.32177551993792</c:v>
                </c:pt>
                <c:pt idx="29">
                  <c:v>93.50418378538262</c:v>
                </c:pt>
                <c:pt idx="30">
                  <c:v>93.68438260890369</c:v>
                </c:pt>
                <c:pt idx="31">
                  <c:v>93.86238224699899</c:v>
                </c:pt>
                <c:pt idx="32">
                  <c:v>94.03819335299484</c:v>
                </c:pt>
                <c:pt idx="33">
                  <c:v>94.21182696146722</c:v>
                </c:pt>
                <c:pt idx="34">
                  <c:v>94.38329447188829</c:v>
                </c:pt>
                <c:pt idx="35">
                  <c:v>94.5526076317158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D$2:$D$37</c:f>
              <c:numCache>
                <c:formatCode>General</c:formatCode>
                <c:ptCount val="36"/>
                <c:pt idx="0">
                  <c:v>88.92661279379251</c:v>
                </c:pt>
                <c:pt idx="1">
                  <c:v>89.00166065138862</c:v>
                </c:pt>
                <c:pt idx="2">
                  <c:v>89.19983458138974</c:v>
                </c:pt>
                <c:pt idx="3">
                  <c:v>89.49784644841993</c:v>
                </c:pt>
                <c:pt idx="4">
                  <c:v>89.87697382395523</c:v>
                </c:pt>
                <c:pt idx="5">
                  <c:v>90.32211895756124</c:v>
                </c:pt>
                <c:pt idx="6">
                  <c:v>91.65927543792814</c:v>
                </c:pt>
                <c:pt idx="7">
                  <c:v>92.96355697532258</c:v>
                </c:pt>
                <c:pt idx="8">
                  <c:v>94.23605074710778</c:v>
                </c:pt>
                <c:pt idx="9">
                  <c:v>95.47779127284501</c:v>
                </c:pt>
                <c:pt idx="10">
                  <c:v>96.68976366650868</c:v>
                </c:pt>
                <c:pt idx="11">
                  <c:v>97.87290666476144</c:v>
                </c:pt>
                <c:pt idx="12">
                  <c:v>98.421850395168</c:v>
                </c:pt>
                <c:pt idx="13">
                  <c:v>98.95924990104635</c:v>
                </c:pt>
                <c:pt idx="14">
                  <c:v>99.48526477275969</c:v>
                </c:pt>
                <c:pt idx="15">
                  <c:v>100.0</c:v>
                </c:pt>
                <c:pt idx="16">
                  <c:v>100.72854565562848</c:v>
                </c:pt>
                <c:pt idx="17">
                  <c:v>101.4378125785683</c:v>
                </c:pt>
                <c:pt idx="18">
                  <c:v>102.1285547177403</c:v>
                </c:pt>
                <c:pt idx="19">
                  <c:v>102.80148254735246</c:v>
                </c:pt>
                <c:pt idx="20">
                  <c:v>103.45726609639918</c:v>
                </c:pt>
                <c:pt idx="21">
                  <c:v>104.09653773717342</c:v>
                </c:pt>
                <c:pt idx="22">
                  <c:v>104.71989475563062</c:v>
                </c:pt>
                <c:pt idx="23">
                  <c:v>105.32790172365165</c:v>
                </c:pt>
                <c:pt idx="24">
                  <c:v>103.8218140278843</c:v>
                </c:pt>
                <c:pt idx="25">
                  <c:v>102.37691526370176</c:v>
                </c:pt>
                <c:pt idx="26">
                  <c:v>103.46256042245876</c:v>
                </c:pt>
                <c:pt idx="27">
                  <c:v>104.53374985818245</c:v>
                </c:pt>
                <c:pt idx="28">
                  <c:v>105.59074721689106</c:v>
                </c:pt>
                <c:pt idx="29">
                  <c:v>106.63380807807094</c:v>
                </c:pt>
                <c:pt idx="30">
                  <c:v>107.6631803331004</c:v>
                </c:pt>
                <c:pt idx="31">
                  <c:v>108.67910454094061</c:v>
                </c:pt>
                <c:pt idx="32">
                  <c:v>109.68181426262326</c:v>
                </c:pt>
                <c:pt idx="33">
                  <c:v>110.67153637595175</c:v>
                </c:pt>
                <c:pt idx="34">
                  <c:v>111.6484913717404</c:v>
                </c:pt>
                <c:pt idx="35">
                  <c:v>112.6128936328233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E$2:$E$37</c:f>
              <c:numCache>
                <c:formatCode>General</c:formatCode>
                <c:ptCount val="36"/>
                <c:pt idx="0">
                  <c:v>0.37335901314532205</c:v>
                </c:pt>
                <c:pt idx="1">
                  <c:v>0.3806540188130134</c:v>
                </c:pt>
                <c:pt idx="2">
                  <c:v>0.38778113021907756</c:v>
                </c:pt>
                <c:pt idx="3">
                  <c:v>0.3947460775430928</c:v>
                </c:pt>
                <c:pt idx="4">
                  <c:v>0.4015543331387835</c:v>
                </c:pt>
                <c:pt idx="5">
                  <c:v>0.4082111258736134</c:v>
                </c:pt>
                <c:pt idx="6">
                  <c:v>0.4147214545218684</c:v>
                </c:pt>
                <c:pt idx="7">
                  <c:v>0.4210901002833279</c:v>
                </c:pt>
                <c:pt idx="8">
                  <c:v>0.4273216384934105</c:v>
                </c:pt>
                <c:pt idx="9">
                  <c:v>0.43342044958506765</c:v>
                </c:pt>
                <c:pt idx="10">
                  <c:v>0.4393907293576168</c:v>
                </c:pt>
                <c:pt idx="11">
                  <c:v>0.44523649860310577</c:v>
                </c:pt>
                <c:pt idx="12">
                  <c:v>0.45096161213661323</c:v>
                </c:pt>
                <c:pt idx="13">
                  <c:v>0.456569767273114</c:v>
                </c:pt>
                <c:pt idx="14">
                  <c:v>0.4620645117900693</c:v>
                </c:pt>
                <c:pt idx="15">
                  <c:v>0.4674492514117902</c:v>
                </c:pt>
                <c:pt idx="16">
                  <c:v>0.4727272568487397</c:v>
                </c:pt>
                <c:pt idx="17">
                  <c:v>0.4779016704223536</c:v>
                </c:pt>
                <c:pt idx="18">
                  <c:v>0.48297551230357466</c:v>
                </c:pt>
                <c:pt idx="19">
                  <c:v>0.48795168639112463</c:v>
                </c:pt>
                <c:pt idx="20">
                  <c:v>0.4928329858535543</c:v>
                </c:pt>
                <c:pt idx="21">
                  <c:v>0.49762209835729787</c:v>
                </c:pt>
                <c:pt idx="22">
                  <c:v>0.5023216110012895</c:v>
                </c:pt>
                <c:pt idx="23">
                  <c:v>0.5069340149771812</c:v>
                </c:pt>
                <c:pt idx="24">
                  <c:v>0.5114617099727993</c:v>
                </c:pt>
                <c:pt idx="25">
                  <c:v>0.5159070083351942</c:v>
                </c:pt>
                <c:pt idx="26">
                  <c:v>0.5202721390084568</c:v>
                </c:pt>
                <c:pt idx="27">
                  <c:v>0.5245592512603916</c:v>
                </c:pt>
                <c:pt idx="28">
                  <c:v>0.528770418211141</c:v>
                </c:pt>
                <c:pt idx="29">
                  <c:v>0.5329076401759247</c:v>
                </c:pt>
                <c:pt idx="30">
                  <c:v>0.5369728478332275</c:v>
                </c:pt>
                <c:pt idx="31">
                  <c:v>0.5409679052289719</c:v>
                </c:pt>
                <c:pt idx="32">
                  <c:v>0.5448946126265</c:v>
                </c:pt>
                <c:pt idx="33">
                  <c:v>0.5487547092115169</c:v>
                </c:pt>
                <c:pt idx="34">
                  <c:v>0.552549875660537</c:v>
                </c:pt>
                <c:pt idx="35">
                  <c:v>0.556281736580799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avi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Carrefour (16.6%)</c:v>
                </c:pt>
                <c:pt idx="2">
                  <c:v>Stella (16.1%)</c:v>
                </c:pt>
                <c:pt idx="3">
                  <c:v>Jan Niezbedny (20.2%)</c:v>
                </c:pt>
                <c:pt idx="4">
                  <c:v>Grosik (1.1%)</c:v>
                </c:pt>
                <c:pt idx="5">
                  <c:v>Anna Zaradna (3.2%)</c:v>
                </c:pt>
                <c:pt idx="6">
                  <c:v>Paclan (2.9%)</c:v>
                </c:pt>
                <c:pt idx="7">
                  <c:v>Vi Go! (2.2%)</c:v>
                </c:pt>
              </c:strCache>
            </c:strRef>
          </c:cat>
          <c:val>
            <c:numRef>
              <c:f>Sheet1!$B$2:$B$9</c:f>
              <c:numCache>
                <c:formatCode>General</c:formatCode>
                <c:ptCount val="8"/>
                <c:pt idx="0">
                  <c:v>0.25024511969939633</c:v>
                </c:pt>
                <c:pt idx="1">
                  <c:v>0.24300931847685983</c:v>
                </c:pt>
                <c:pt idx="2">
                  <c:v>0.20717775578671976</c:v>
                </c:pt>
                <c:pt idx="3">
                  <c:v>0.18318964059829837</c:v>
                </c:pt>
                <c:pt idx="4">
                  <c:v>0.035704160569294006</c:v>
                </c:pt>
                <c:pt idx="5">
                  <c:v>0.032568937741718436</c:v>
                </c:pt>
                <c:pt idx="6">
                  <c:v>0.027471741827910148</c:v>
                </c:pt>
                <c:pt idx="7">
                  <c:v>0.02063332529986257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B$2:$B$37</c:f>
              <c:numCache>
                <c:formatCode>General</c:formatCode>
                <c:ptCount val="36"/>
                <c:pt idx="0">
                  <c:v>128.36230635741387</c:v>
                </c:pt>
                <c:pt idx="1">
                  <c:v>125.39348458810866</c:v>
                </c:pt>
                <c:pt idx="2">
                  <c:v>122.67469862663587</c:v>
                </c:pt>
                <c:pt idx="3">
                  <c:v>120.1724583339995</c:v>
                </c:pt>
                <c:pt idx="4">
                  <c:v>117.85881804640977</c:v>
                </c:pt>
                <c:pt idx="5">
                  <c:v>115.7103478538533</c:v>
                </c:pt>
                <c:pt idx="6">
                  <c:v>114.5729744632751</c:v>
                </c:pt>
                <c:pt idx="7">
                  <c:v>113.45501493497325</c:v>
                </c:pt>
                <c:pt idx="8">
                  <c:v>112.35594337944785</c:v>
                </c:pt>
                <c:pt idx="9">
                  <c:v>111.27525314824118</c:v>
                </c:pt>
                <c:pt idx="10">
                  <c:v>110.21245603101728</c:v>
                </c:pt>
                <c:pt idx="11">
                  <c:v>109.16708148336186</c:v>
                </c:pt>
                <c:pt idx="12">
                  <c:v>106.74299944166535</c:v>
                </c:pt>
                <c:pt idx="13">
                  <c:v>104.4092412976819</c:v>
                </c:pt>
                <c:pt idx="14">
                  <c:v>102.16266796949722</c:v>
                </c:pt>
                <c:pt idx="15">
                  <c:v>100.0</c:v>
                </c:pt>
                <c:pt idx="16">
                  <c:v>98.67259226908702</c:v>
                </c:pt>
                <c:pt idx="17">
                  <c:v>97.37793678275885</c:v>
                </c:pt>
                <c:pt idx="18">
                  <c:v>96.11489815303034</c:v>
                </c:pt>
                <c:pt idx="19">
                  <c:v>94.88238675780477</c:v>
                </c:pt>
                <c:pt idx="20">
                  <c:v>93.67935716325604</c:v>
                </c:pt>
                <c:pt idx="21">
                  <c:v>92.50480652662904</c:v>
                </c:pt>
                <c:pt idx="22">
                  <c:v>91.35777299199484</c:v>
                </c:pt>
                <c:pt idx="23">
                  <c:v>90.23733409025446</c:v>
                </c:pt>
                <c:pt idx="24">
                  <c:v>87.05410573648048</c:v>
                </c:pt>
                <c:pt idx="25">
                  <c:v>84.03923188566434</c:v>
                </c:pt>
                <c:pt idx="26">
                  <c:v>83.39706016827323</c:v>
                </c:pt>
                <c:pt idx="27">
                  <c:v>82.7640521152828</c:v>
                </c:pt>
                <c:pt idx="28">
                  <c:v>82.13998657150381</c:v>
                </c:pt>
                <c:pt idx="29">
                  <c:v>81.52465018600682</c:v>
                </c:pt>
                <c:pt idx="30">
                  <c:v>80.9178370692991</c:v>
                </c:pt>
                <c:pt idx="31">
                  <c:v>80.31934846656567</c:v>
                </c:pt>
                <c:pt idx="32">
                  <c:v>79.72899244635053</c:v>
                </c:pt>
                <c:pt idx="33">
                  <c:v>79.14658360405336</c:v>
                </c:pt>
                <c:pt idx="34">
                  <c:v>78.57194277961044</c:v>
                </c:pt>
                <c:pt idx="35">
                  <c:v>78.0048967887348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C$2:$C$37</c:f>
              <c:numCache>
                <c:formatCode>General</c:formatCode>
                <c:ptCount val="36"/>
                <c:pt idx="0">
                  <c:v>109.43178975028836</c:v>
                </c:pt>
                <c:pt idx="1">
                  <c:v>108.1374008209423</c:v>
                </c:pt>
                <c:pt idx="2">
                  <c:v>107.00209359924213</c:v>
                </c:pt>
                <c:pt idx="3">
                  <c:v>106.00378885593682</c:v>
                </c:pt>
                <c:pt idx="4">
                  <c:v>105.12401961265101</c:v>
                </c:pt>
                <c:pt idx="5">
                  <c:v>104.34727928041221</c:v>
                </c:pt>
                <c:pt idx="6">
                  <c:v>104.44231568158588</c:v>
                </c:pt>
                <c:pt idx="7">
                  <c:v>104.5329490313694</c:v>
                </c:pt>
                <c:pt idx="8">
                  <c:v>104.61926439064686</c:v>
                </c:pt>
                <c:pt idx="9">
                  <c:v>104.70134406143777</c:v>
                </c:pt>
                <c:pt idx="10">
                  <c:v>104.77926778065061</c:v>
                </c:pt>
                <c:pt idx="11">
                  <c:v>104.85311289513194</c:v>
                </c:pt>
                <c:pt idx="12">
                  <c:v>103.5787110073122</c:v>
                </c:pt>
                <c:pt idx="13">
                  <c:v>102.34543010455278</c:v>
                </c:pt>
                <c:pt idx="14">
                  <c:v>101.15277661489242</c:v>
                </c:pt>
                <c:pt idx="15">
                  <c:v>100.0</c:v>
                </c:pt>
                <c:pt idx="16">
                  <c:v>99.64298670489157</c:v>
                </c:pt>
                <c:pt idx="17">
                  <c:v>99.29337882785336</c:v>
                </c:pt>
                <c:pt idx="18">
                  <c:v>98.95096567334977</c:v>
                </c:pt>
                <c:pt idx="19">
                  <c:v>98.615540020373</c:v>
                </c:pt>
                <c:pt idx="20">
                  <c:v>98.28689867445571</c:v>
                </c:pt>
                <c:pt idx="21">
                  <c:v>97.96484290897367</c:v>
                </c:pt>
                <c:pt idx="22">
                  <c:v>97.6491788076538</c:v>
                </c:pt>
                <c:pt idx="23">
                  <c:v>97.33971751983617</c:v>
                </c:pt>
                <c:pt idx="24">
                  <c:v>94.78376932879713</c:v>
                </c:pt>
                <c:pt idx="25">
                  <c:v>92.34871017823242</c:v>
                </c:pt>
                <c:pt idx="26">
                  <c:v>92.46120720686118</c:v>
                </c:pt>
                <c:pt idx="27">
                  <c:v>92.57131704565815</c:v>
                </c:pt>
                <c:pt idx="28">
                  <c:v>92.67906230351852</c:v>
                </c:pt>
                <c:pt idx="29">
                  <c:v>92.78446569587372</c:v>
                </c:pt>
                <c:pt idx="30">
                  <c:v>92.8875500375233</c:v>
                </c:pt>
                <c:pt idx="31">
                  <c:v>92.98833823374883</c:v>
                </c:pt>
                <c:pt idx="32">
                  <c:v>93.08685327009186</c:v>
                </c:pt>
                <c:pt idx="33">
                  <c:v>93.18311820112623</c:v>
                </c:pt>
                <c:pt idx="34">
                  <c:v>93.27715613849897</c:v>
                </c:pt>
                <c:pt idx="35">
                  <c:v>93.3689902384702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D$2:$D$37</c:f>
              <c:numCache>
                <c:formatCode>General</c:formatCode>
                <c:ptCount val="36"/>
                <c:pt idx="0">
                  <c:v>86.54907252838997</c:v>
                </c:pt>
                <c:pt idx="1">
                  <c:v>87.26635632613107</c:v>
                </c:pt>
                <c:pt idx="2">
                  <c:v>88.03496874511083</c:v>
                </c:pt>
                <c:pt idx="3">
                  <c:v>88.84627453308104</c:v>
                </c:pt>
                <c:pt idx="4">
                  <c:v>89.69298253685307</c:v>
                </c:pt>
                <c:pt idx="5">
                  <c:v>90.56893506192412</c:v>
                </c:pt>
                <c:pt idx="6">
                  <c:v>92.17237071835079</c:v>
                </c:pt>
                <c:pt idx="7">
                  <c:v>93.74208043925805</c:v>
                </c:pt>
                <c:pt idx="8">
                  <c:v>95.27890029688724</c:v>
                </c:pt>
                <c:pt idx="9">
                  <c:v>96.78363652319344</c:v>
                </c:pt>
                <c:pt idx="10">
                  <c:v>98.25706693741327</c:v>
                </c:pt>
                <c:pt idx="11">
                  <c:v>99.69994229335498</c:v>
                </c:pt>
                <c:pt idx="12">
                  <c:v>99.80052567038138</c:v>
                </c:pt>
                <c:pt idx="13">
                  <c:v>99.88224595680141</c:v>
                </c:pt>
                <c:pt idx="14">
                  <c:v>99.94793298832418</c:v>
                </c:pt>
                <c:pt idx="15">
                  <c:v>100.0</c:v>
                </c:pt>
                <c:pt idx="16">
                  <c:v>100.81468345082581</c:v>
                </c:pt>
                <c:pt idx="17">
                  <c:v>101.60576234149626</c:v>
                </c:pt>
                <c:pt idx="18">
                  <c:v>102.37417240148825</c:v>
                </c:pt>
                <c:pt idx="19">
                  <c:v>103.12079953846724</c:v>
                </c:pt>
                <c:pt idx="20">
                  <c:v>103.84648314192202</c:v>
                </c:pt>
                <c:pt idx="21">
                  <c:v>104.55201915130232</c:v>
                </c:pt>
                <c:pt idx="22">
                  <c:v>105.23816290083971</c:v>
                </c:pt>
                <c:pt idx="23">
                  <c:v>105.90563175390277</c:v>
                </c:pt>
                <c:pt idx="24">
                  <c:v>104.04428826236418</c:v>
                </c:pt>
                <c:pt idx="25">
                  <c:v>102.2511316467528</c:v>
                </c:pt>
                <c:pt idx="26">
                  <c:v>103.28205053727777</c:v>
                </c:pt>
                <c:pt idx="27">
                  <c:v>104.29651990210877</c:v>
                </c:pt>
                <c:pt idx="28">
                  <c:v>105.29485734028128</c:v>
                </c:pt>
                <c:pt idx="29">
                  <c:v>106.27737124303837</c:v>
                </c:pt>
                <c:pt idx="30">
                  <c:v>107.24436119563204</c:v>
                </c:pt>
                <c:pt idx="31">
                  <c:v>108.19611835554363</c:v>
                </c:pt>
                <c:pt idx="32">
                  <c:v>109.1329258087546</c:v>
                </c:pt>
                <c:pt idx="33">
                  <c:v>110.05505890558057</c:v>
                </c:pt>
                <c:pt idx="34">
                  <c:v>110.96278557746379</c:v>
                </c:pt>
                <c:pt idx="35">
                  <c:v>111.856366636017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7</c:f>
              <c:strCache>
                <c:ptCount val="36"/>
                <c:pt idx="0">
                  <c:v>8.49</c:v>
                </c:pt>
                <c:pt idx="1">
                  <c:v>8.59</c:v>
                </c:pt>
                <c:pt idx="2">
                  <c:v>8.69</c:v>
                </c:pt>
                <c:pt idx="3">
                  <c:v>8.79</c:v>
                </c:pt>
                <c:pt idx="4">
                  <c:v>8.89</c:v>
                </c:pt>
                <c:pt idx="5">
                  <c:v>8.99</c:v>
                </c:pt>
                <c:pt idx="6">
                  <c:v>9.09</c:v>
                </c:pt>
                <c:pt idx="7">
                  <c:v>9.19</c:v>
                </c:pt>
                <c:pt idx="8">
                  <c:v>9.29</c:v>
                </c:pt>
                <c:pt idx="9">
                  <c:v>9.39</c:v>
                </c:pt>
                <c:pt idx="10">
                  <c:v>9.49</c:v>
                </c:pt>
                <c:pt idx="11">
                  <c:v>9.59</c:v>
                </c:pt>
                <c:pt idx="12">
                  <c:v>9.69</c:v>
                </c:pt>
                <c:pt idx="13">
                  <c:v>9.79</c:v>
                </c:pt>
                <c:pt idx="14">
                  <c:v>9.89</c:v>
                </c:pt>
                <c:pt idx="15">
                  <c:v>9.99</c:v>
                </c:pt>
                <c:pt idx="16">
                  <c:v>10.09</c:v>
                </c:pt>
                <c:pt idx="17">
                  <c:v>10.19</c:v>
                </c:pt>
                <c:pt idx="18">
                  <c:v>10.29</c:v>
                </c:pt>
                <c:pt idx="19">
                  <c:v>10.39</c:v>
                </c:pt>
                <c:pt idx="20">
                  <c:v>10.49</c:v>
                </c:pt>
                <c:pt idx="21">
                  <c:v>10.59</c:v>
                </c:pt>
                <c:pt idx="22">
                  <c:v>10.69</c:v>
                </c:pt>
                <c:pt idx="23">
                  <c:v>10.79</c:v>
                </c:pt>
                <c:pt idx="24">
                  <c:v>10.89</c:v>
                </c:pt>
                <c:pt idx="25">
                  <c:v>10.99</c:v>
                </c:pt>
                <c:pt idx="26">
                  <c:v>11.09</c:v>
                </c:pt>
                <c:pt idx="27">
                  <c:v>11.19</c:v>
                </c:pt>
                <c:pt idx="28">
                  <c:v>11.29</c:v>
                </c:pt>
                <c:pt idx="29">
                  <c:v>11.39</c:v>
                </c:pt>
                <c:pt idx="30">
                  <c:v>11.49</c:v>
                </c:pt>
                <c:pt idx="31">
                  <c:v>11.59</c:v>
                </c:pt>
                <c:pt idx="32">
                  <c:v>11.69</c:v>
                </c:pt>
                <c:pt idx="33">
                  <c:v>11.79</c:v>
                </c:pt>
                <c:pt idx="34">
                  <c:v>11.89</c:v>
                </c:pt>
                <c:pt idx="35">
                  <c:v>11.99</c:v>
                </c:pt>
              </c:strCache>
            </c:strRef>
          </c:cat>
          <c:val>
            <c:numRef>
              <c:f>Sheet1!$E$2:$E$37</c:f>
              <c:numCache>
                <c:formatCode>General</c:formatCode>
                <c:ptCount val="36"/>
                <c:pt idx="0">
                  <c:v>0.36342385267863003</c:v>
                </c:pt>
                <c:pt idx="1">
                  <c:v>0.3708345179559452</c:v>
                </c:pt>
                <c:pt idx="2">
                  <c:v>0.3780746270703759</c:v>
                </c:pt>
                <c:pt idx="3">
                  <c:v>0.38515000105137276</c:v>
                </c:pt>
                <c:pt idx="4">
                  <c:v>0.3920661990147994</c:v>
                </c:pt>
                <c:pt idx="5">
                  <c:v>0.39882853272987406</c:v>
                </c:pt>
                <c:pt idx="6">
                  <c:v>0.40544208022459494</c:v>
                </c:pt>
                <c:pt idx="7">
                  <c:v>0.41191169850289083</c:v>
                </c:pt>
                <c:pt idx="8">
                  <c:v>0.4182420354404271</c:v>
                </c:pt>
                <c:pt idx="9">
                  <c:v>0.4244375409202947</c:v>
                </c:pt>
                <c:pt idx="10">
                  <c:v>0.43050247726465407</c:v>
                </c:pt>
                <c:pt idx="11">
                  <c:v>0.4364409290137192</c:v>
                </c:pt>
                <c:pt idx="12">
                  <c:v>0.4422568120992329</c:v>
                </c:pt>
                <c:pt idx="13">
                  <c:v>0.44795388245572715</c:v>
                </c:pt>
                <c:pt idx="14">
                  <c:v>0.4535357441093599</c:v>
                </c:pt>
                <c:pt idx="15">
                  <c:v>0.4590058567809376</c:v>
                </c:pt>
                <c:pt idx="16">
                  <c:v>0.4643675430368255</c:v>
                </c:pt>
                <c:pt idx="17">
                  <c:v>0.46962399501879953</c:v>
                </c:pt>
                <c:pt idx="18">
                  <c:v>0.4747782807814936</c:v>
                </c:pt>
                <c:pt idx="19">
                  <c:v>0.4798333502638661</c:v>
                </c:pt>
                <c:pt idx="20">
                  <c:v>0.4847920409191198</c:v>
                </c:pt>
                <c:pt idx="21">
                  <c:v>0.48965708302564387</c:v>
                </c:pt>
                <c:pt idx="22">
                  <c:v>0.4944311046998659</c:v>
                </c:pt>
                <c:pt idx="23">
                  <c:v>0.49911663663035855</c:v>
                </c:pt>
                <c:pt idx="24">
                  <c:v>0.5037161165511085</c:v>
                </c:pt>
                <c:pt idx="25">
                  <c:v>0.5082318934705702</c:v>
                </c:pt>
                <c:pt idx="26">
                  <c:v>0.5126662316719178</c:v>
                </c:pt>
                <c:pt idx="27">
                  <c:v>0.5170213144987995</c:v>
                </c:pt>
                <c:pt idx="28">
                  <c:v>0.5212992479399087</c:v>
                </c:pt>
                <c:pt idx="29">
                  <c:v>0.5255020640247207</c:v>
                </c:pt>
                <c:pt idx="30">
                  <c:v>0.5296317240419118</c:v>
                </c:pt>
                <c:pt idx="31">
                  <c:v>0.533690121591162</c:v>
                </c:pt>
                <c:pt idx="32">
                  <c:v>0.5376790854783208</c:v>
                </c:pt>
                <c:pt idx="33">
                  <c:v>0.5416003824632374</c:v>
                </c:pt>
                <c:pt idx="34">
                  <c:v>0.545455719868929</c:v>
                </c:pt>
                <c:pt idx="35">
                  <c:v>0.549246748060180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14.39</c:v>
                </c:pt>
                <c:pt idx="1">
                  <c:v>14.49</c:v>
                </c:pt>
                <c:pt idx="2">
                  <c:v>14.59</c:v>
                </c:pt>
                <c:pt idx="3">
                  <c:v>14.69</c:v>
                </c:pt>
                <c:pt idx="4">
                  <c:v>14.79</c:v>
                </c:pt>
                <c:pt idx="5">
                  <c:v>14.89</c:v>
                </c:pt>
                <c:pt idx="6">
                  <c:v>14.99</c:v>
                </c:pt>
                <c:pt idx="7">
                  <c:v>15.09</c:v>
                </c:pt>
                <c:pt idx="8">
                  <c:v>15.19</c:v>
                </c:pt>
                <c:pt idx="9">
                  <c:v>15.29</c:v>
                </c:pt>
                <c:pt idx="10">
                  <c:v>15.39</c:v>
                </c:pt>
                <c:pt idx="11">
                  <c:v>15.49</c:v>
                </c:pt>
                <c:pt idx="12">
                  <c:v>15.59</c:v>
                </c:pt>
                <c:pt idx="13">
                  <c:v>15.69</c:v>
                </c:pt>
                <c:pt idx="14">
                  <c:v>15.79</c:v>
                </c:pt>
                <c:pt idx="15">
                  <c:v>15.89</c:v>
                </c:pt>
                <c:pt idx="16">
                  <c:v>15.99</c:v>
                </c:pt>
                <c:pt idx="17">
                  <c:v>16.09</c:v>
                </c:pt>
                <c:pt idx="18">
                  <c:v>16.19</c:v>
                </c:pt>
                <c:pt idx="19">
                  <c:v>16.29</c:v>
                </c:pt>
                <c:pt idx="20">
                  <c:v>16.39</c:v>
                </c:pt>
                <c:pt idx="21">
                  <c:v>16.49</c:v>
                </c:pt>
                <c:pt idx="22">
                  <c:v>16.59</c:v>
                </c:pt>
                <c:pt idx="23">
                  <c:v>16.69</c:v>
                </c:pt>
                <c:pt idx="24">
                  <c:v>16.79</c:v>
                </c:pt>
                <c:pt idx="25">
                  <c:v>16.89</c:v>
                </c:pt>
                <c:pt idx="26">
                  <c:v>16.99</c:v>
                </c:pt>
                <c:pt idx="27">
                  <c:v>17.09</c:v>
                </c:pt>
                <c:pt idx="28">
                  <c:v>17.19</c:v>
                </c:pt>
                <c:pt idx="29">
                  <c:v>17.29</c:v>
                </c:pt>
                <c:pt idx="30">
                  <c:v>17.39</c:v>
                </c:pt>
                <c:pt idx="31">
                  <c:v>17.49</c:v>
                </c:pt>
                <c:pt idx="32">
                  <c:v>17.59</c:v>
                </c:pt>
                <c:pt idx="33">
                  <c:v>17.69</c:v>
                </c:pt>
                <c:pt idx="34">
                  <c:v>17.79</c:v>
                </c:pt>
                <c:pt idx="35">
                  <c:v>17.89</c:v>
                </c:pt>
                <c:pt idx="36">
                  <c:v>17.99</c:v>
                </c:pt>
                <c:pt idx="37">
                  <c:v>18.09</c:v>
                </c:pt>
                <c:pt idx="38">
                  <c:v>18.19</c:v>
                </c:pt>
                <c:pt idx="39">
                  <c:v>18.29</c:v>
                </c:pt>
                <c:pt idx="40">
                  <c:v>18.39</c:v>
                </c:pt>
                <c:pt idx="41">
                  <c:v>18.49</c:v>
                </c:pt>
                <c:pt idx="42">
                  <c:v>18.59</c:v>
                </c:pt>
                <c:pt idx="43">
                  <c:v>18.69</c:v>
                </c:pt>
                <c:pt idx="44">
                  <c:v>18.79</c:v>
                </c:pt>
                <c:pt idx="45">
                  <c:v>18.89</c:v>
                </c:pt>
                <c:pt idx="46">
                  <c:v>18.99</c:v>
                </c:pt>
                <c:pt idx="47">
                  <c:v>19.09</c:v>
                </c:pt>
                <c:pt idx="48">
                  <c:v>19.19</c:v>
                </c:pt>
                <c:pt idx="49">
                  <c:v>19.29</c:v>
                </c:pt>
                <c:pt idx="50">
                  <c:v>19.39</c:v>
                </c:pt>
                <c:pt idx="51">
                  <c:v>19.49</c:v>
                </c:pt>
                <c:pt idx="52">
                  <c:v>19.59</c:v>
                </c:pt>
                <c:pt idx="53">
                  <c:v>19.69</c:v>
                </c:pt>
                <c:pt idx="54">
                  <c:v>19.79</c:v>
                </c:pt>
                <c:pt idx="55">
                  <c:v>19.89</c:v>
                </c:pt>
                <c:pt idx="56">
                  <c:v>19.99</c:v>
                </c:pt>
                <c:pt idx="57">
                  <c:v>20.09</c:v>
                </c:pt>
                <c:pt idx="58">
                  <c:v>20.19</c:v>
                </c:pt>
                <c:pt idx="59">
                  <c:v>20.29</c:v>
                </c:pt>
              </c:strCache>
            </c:strRef>
          </c:cat>
          <c:val>
            <c:numRef>
              <c:f>Sheet1!$B$2:$B$61</c:f>
              <c:numCache>
                <c:formatCode>General</c:formatCode>
                <c:ptCount val="60"/>
                <c:pt idx="0">
                  <c:v>128.98461385737673</c:v>
                </c:pt>
                <c:pt idx="1">
                  <c:v>127.08883013852206</c:v>
                </c:pt>
                <c:pt idx="2">
                  <c:v>125.25066703806935</c:v>
                </c:pt>
                <c:pt idx="3">
                  <c:v>123.46759795976926</c:v>
                </c:pt>
                <c:pt idx="4">
                  <c:v>121.7372254534154</c:v>
                </c:pt>
                <c:pt idx="5">
                  <c:v>120.05727441078274</c:v>
                </c:pt>
                <c:pt idx="6">
                  <c:v>118.4255855773063</c:v>
                </c:pt>
                <c:pt idx="7">
                  <c:v>117.32115256392615</c:v>
                </c:pt>
                <c:pt idx="8">
                  <c:v>116.23340779359563</c:v>
                </c:pt>
                <c:pt idx="9">
                  <c:v>115.16201887553859</c:v>
                </c:pt>
                <c:pt idx="10">
                  <c:v>114.10666086619653</c:v>
                </c:pt>
                <c:pt idx="11">
                  <c:v>113.06701610614812</c:v>
                </c:pt>
                <c:pt idx="12">
                  <c:v>112.04277405952305</c:v>
                </c:pt>
                <c:pt idx="13">
                  <c:v>111.0336311559561</c:v>
                </c:pt>
                <c:pt idx="14">
                  <c:v>110.03929063513131</c:v>
                </c:pt>
                <c:pt idx="15">
                  <c:v>109.05946239394939</c:v>
                </c:pt>
                <c:pt idx="16">
                  <c:v>108.09386283634814</c:v>
                </c:pt>
                <c:pt idx="17">
                  <c:v>107.14221472579828</c:v>
                </c:pt>
                <c:pt idx="18">
                  <c:v>106.20424704048858</c:v>
                </c:pt>
                <c:pt idx="19">
                  <c:v>105.2796948312125</c:v>
                </c:pt>
                <c:pt idx="20">
                  <c:v>104.36829908195593</c:v>
                </c:pt>
                <c:pt idx="21">
                  <c:v>103.46980657319058</c:v>
                </c:pt>
                <c:pt idx="22">
                  <c:v>102.58396974786297</c:v>
                </c:pt>
                <c:pt idx="23">
                  <c:v>101.71054658007101</c:v>
                </c:pt>
                <c:pt idx="24">
                  <c:v>100.84930044641425</c:v>
                </c:pt>
                <c:pt idx="25">
                  <c:v>100.0</c:v>
                </c:pt>
                <c:pt idx="26">
                  <c:v>99.1624190470873</c:v>
                </c:pt>
                <c:pt idx="27">
                  <c:v>98.73348936989285</c:v>
                </c:pt>
                <c:pt idx="28">
                  <c:v>98.30742515368594</c:v>
                </c:pt>
                <c:pt idx="29">
                  <c:v>97.88420220753176</c:v>
                </c:pt>
                <c:pt idx="30">
                  <c:v>97.46379659873764</c:v>
                </c:pt>
                <c:pt idx="31">
                  <c:v>97.04618464919696</c:v>
                </c:pt>
                <c:pt idx="32">
                  <c:v>96.63134293173253</c:v>
                </c:pt>
                <c:pt idx="33">
                  <c:v>96.21924826644329</c:v>
                </c:pt>
                <c:pt idx="34">
                  <c:v>95.80987771705789</c:v>
                </c:pt>
                <c:pt idx="35">
                  <c:v>95.40320858729966</c:v>
                </c:pt>
                <c:pt idx="36">
                  <c:v>94.99921841726547</c:v>
                </c:pt>
                <c:pt idx="37">
                  <c:v>94.59788497982473</c:v>
                </c:pt>
                <c:pt idx="38">
                  <c:v>94.1991862770365</c:v>
                </c:pt>
                <c:pt idx="39">
                  <c:v>93.80310053659457</c:v>
                </c:pt>
                <c:pt idx="40">
                  <c:v>93.40960620830009</c:v>
                </c:pt>
                <c:pt idx="41">
                  <c:v>93.01868196056408</c:v>
                </c:pt>
                <c:pt idx="42">
                  <c:v>92.63030667694461</c:v>
                </c:pt>
                <c:pt idx="43">
                  <c:v>92.2444594527217</c:v>
                </c:pt>
                <c:pt idx="44">
                  <c:v>91.86111959151026</c:v>
                </c:pt>
                <c:pt idx="45">
                  <c:v>91.48026660191458</c:v>
                </c:pt>
                <c:pt idx="46">
                  <c:v>91.10188019422944</c:v>
                </c:pt>
                <c:pt idx="47">
                  <c:v>90.72594027718489</c:v>
                </c:pt>
                <c:pt idx="48">
                  <c:v>90.35242695474112</c:v>
                </c:pt>
                <c:pt idx="49">
                  <c:v>89.98132052293303</c:v>
                </c:pt>
                <c:pt idx="50">
                  <c:v>89.61260146676526</c:v>
                </c:pt>
                <c:pt idx="51">
                  <c:v>89.24625045716581</c:v>
                </c:pt>
                <c:pt idx="52">
                  <c:v>88.88224834798801</c:v>
                </c:pt>
                <c:pt idx="53">
                  <c:v>88.52057617307398</c:v>
                </c:pt>
                <c:pt idx="54">
                  <c:v>88.16121514337406</c:v>
                </c:pt>
                <c:pt idx="55">
                  <c:v>87.80414664412368</c:v>
                </c:pt>
                <c:pt idx="56">
                  <c:v>87.44935223208132</c:v>
                </c:pt>
                <c:pt idx="57">
                  <c:v>87.13935561215568</c:v>
                </c:pt>
                <c:pt idx="58">
                  <c:v>86.83072350688732</c:v>
                </c:pt>
                <c:pt idx="59">
                  <c:v>86.523448993104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14.39</c:v>
                </c:pt>
                <c:pt idx="1">
                  <c:v>14.49</c:v>
                </c:pt>
                <c:pt idx="2">
                  <c:v>14.59</c:v>
                </c:pt>
                <c:pt idx="3">
                  <c:v>14.69</c:v>
                </c:pt>
                <c:pt idx="4">
                  <c:v>14.79</c:v>
                </c:pt>
                <c:pt idx="5">
                  <c:v>14.89</c:v>
                </c:pt>
                <c:pt idx="6">
                  <c:v>14.99</c:v>
                </c:pt>
                <c:pt idx="7">
                  <c:v>15.09</c:v>
                </c:pt>
                <c:pt idx="8">
                  <c:v>15.19</c:v>
                </c:pt>
                <c:pt idx="9">
                  <c:v>15.29</c:v>
                </c:pt>
                <c:pt idx="10">
                  <c:v>15.39</c:v>
                </c:pt>
                <c:pt idx="11">
                  <c:v>15.49</c:v>
                </c:pt>
                <c:pt idx="12">
                  <c:v>15.59</c:v>
                </c:pt>
                <c:pt idx="13">
                  <c:v>15.69</c:v>
                </c:pt>
                <c:pt idx="14">
                  <c:v>15.79</c:v>
                </c:pt>
                <c:pt idx="15">
                  <c:v>15.89</c:v>
                </c:pt>
                <c:pt idx="16">
                  <c:v>15.99</c:v>
                </c:pt>
                <c:pt idx="17">
                  <c:v>16.09</c:v>
                </c:pt>
                <c:pt idx="18">
                  <c:v>16.19</c:v>
                </c:pt>
                <c:pt idx="19">
                  <c:v>16.29</c:v>
                </c:pt>
                <c:pt idx="20">
                  <c:v>16.39</c:v>
                </c:pt>
                <c:pt idx="21">
                  <c:v>16.49</c:v>
                </c:pt>
                <c:pt idx="22">
                  <c:v>16.59</c:v>
                </c:pt>
                <c:pt idx="23">
                  <c:v>16.69</c:v>
                </c:pt>
                <c:pt idx="24">
                  <c:v>16.79</c:v>
                </c:pt>
                <c:pt idx="25">
                  <c:v>16.89</c:v>
                </c:pt>
                <c:pt idx="26">
                  <c:v>16.99</c:v>
                </c:pt>
                <c:pt idx="27">
                  <c:v>17.09</c:v>
                </c:pt>
                <c:pt idx="28">
                  <c:v>17.19</c:v>
                </c:pt>
                <c:pt idx="29">
                  <c:v>17.29</c:v>
                </c:pt>
                <c:pt idx="30">
                  <c:v>17.39</c:v>
                </c:pt>
                <c:pt idx="31">
                  <c:v>17.49</c:v>
                </c:pt>
                <c:pt idx="32">
                  <c:v>17.59</c:v>
                </c:pt>
                <c:pt idx="33">
                  <c:v>17.69</c:v>
                </c:pt>
                <c:pt idx="34">
                  <c:v>17.79</c:v>
                </c:pt>
                <c:pt idx="35">
                  <c:v>17.89</c:v>
                </c:pt>
                <c:pt idx="36">
                  <c:v>17.99</c:v>
                </c:pt>
                <c:pt idx="37">
                  <c:v>18.09</c:v>
                </c:pt>
                <c:pt idx="38">
                  <c:v>18.19</c:v>
                </c:pt>
                <c:pt idx="39">
                  <c:v>18.29</c:v>
                </c:pt>
                <c:pt idx="40">
                  <c:v>18.39</c:v>
                </c:pt>
                <c:pt idx="41">
                  <c:v>18.49</c:v>
                </c:pt>
                <c:pt idx="42">
                  <c:v>18.59</c:v>
                </c:pt>
                <c:pt idx="43">
                  <c:v>18.69</c:v>
                </c:pt>
                <c:pt idx="44">
                  <c:v>18.79</c:v>
                </c:pt>
                <c:pt idx="45">
                  <c:v>18.89</c:v>
                </c:pt>
                <c:pt idx="46">
                  <c:v>18.99</c:v>
                </c:pt>
                <c:pt idx="47">
                  <c:v>19.09</c:v>
                </c:pt>
                <c:pt idx="48">
                  <c:v>19.19</c:v>
                </c:pt>
                <c:pt idx="49">
                  <c:v>19.29</c:v>
                </c:pt>
                <c:pt idx="50">
                  <c:v>19.39</c:v>
                </c:pt>
                <c:pt idx="51">
                  <c:v>19.49</c:v>
                </c:pt>
                <c:pt idx="52">
                  <c:v>19.59</c:v>
                </c:pt>
                <c:pt idx="53">
                  <c:v>19.69</c:v>
                </c:pt>
                <c:pt idx="54">
                  <c:v>19.79</c:v>
                </c:pt>
                <c:pt idx="55">
                  <c:v>19.89</c:v>
                </c:pt>
                <c:pt idx="56">
                  <c:v>19.99</c:v>
                </c:pt>
                <c:pt idx="57">
                  <c:v>20.09</c:v>
                </c:pt>
                <c:pt idx="58">
                  <c:v>20.19</c:v>
                </c:pt>
                <c:pt idx="59">
                  <c:v>20.29</c:v>
                </c:pt>
              </c:strCache>
            </c:strRef>
          </c:cat>
          <c:val>
            <c:numRef>
              <c:f>Sheet1!$C$2:$C$61</c:f>
              <c:numCache>
                <c:formatCode>General</c:formatCode>
                <c:ptCount val="60"/>
                <c:pt idx="0">
                  <c:v>109.90979275549427</c:v>
                </c:pt>
                <c:pt idx="1">
                  <c:v>109.0471418015998</c:v>
                </c:pt>
                <c:pt idx="2">
                  <c:v>108.21180178986387</c:v>
                </c:pt>
                <c:pt idx="3">
                  <c:v>107.40259961515308</c:v>
                </c:pt>
                <c:pt idx="4">
                  <c:v>106.61841538977255</c:v>
                </c:pt>
                <c:pt idx="5">
                  <c:v>105.85818026740026</c:v>
                </c:pt>
                <c:pt idx="6">
                  <c:v>105.12087430598369</c:v>
                </c:pt>
                <c:pt idx="7">
                  <c:v>104.83410896193497</c:v>
                </c:pt>
                <c:pt idx="8">
                  <c:v>104.54931101325329</c:v>
                </c:pt>
                <c:pt idx="9">
                  <c:v>104.26647487473394</c:v>
                </c:pt>
                <c:pt idx="10">
                  <c:v>103.98559391139561</c:v>
                </c:pt>
                <c:pt idx="11">
                  <c:v>103.70666050815328</c:v>
                </c:pt>
                <c:pt idx="12">
                  <c:v>103.42966613603816</c:v>
                </c:pt>
                <c:pt idx="13">
                  <c:v>103.15460141510952</c:v>
                </c:pt>
                <c:pt idx="14">
                  <c:v>102.88145617420952</c:v>
                </c:pt>
                <c:pt idx="15">
                  <c:v>102.61021950769948</c:v>
                </c:pt>
                <c:pt idx="16">
                  <c:v>102.34087982931266</c:v>
                </c:pt>
                <c:pt idx="17">
                  <c:v>102.07342492325431</c:v>
                </c:pt>
                <c:pt idx="18">
                  <c:v>101.80784199267406</c:v>
                </c:pt>
                <c:pt idx="19">
                  <c:v>101.54411770562987</c:v>
                </c:pt>
                <c:pt idx="20">
                  <c:v>101.2822382386573</c:v>
                </c:pt>
                <c:pt idx="21">
                  <c:v>101.02218931805788</c:v>
                </c:pt>
                <c:pt idx="22">
                  <c:v>100.76395625900822</c:v>
                </c:pt>
                <c:pt idx="23">
                  <c:v>100.50752400259431</c:v>
                </c:pt>
                <c:pt idx="24">
                  <c:v>100.25287715086499</c:v>
                </c:pt>
                <c:pt idx="25">
                  <c:v>100.0</c:v>
                </c:pt>
                <c:pt idx="26">
                  <c:v>99.7488765716803</c:v>
                </c:pt>
                <c:pt idx="27">
                  <c:v>99.90004346118258</c:v>
                </c:pt>
                <c:pt idx="28">
                  <c:v>100.04906112857286</c:v>
                </c:pt>
                <c:pt idx="29">
                  <c:v>100.19595570750204</c:v>
                </c:pt>
                <c:pt idx="30">
                  <c:v>100.34075302134981</c:v>
                </c:pt>
                <c:pt idx="31">
                  <c:v>100.48347858719073</c:v>
                </c:pt>
                <c:pt idx="32">
                  <c:v>100.62415761962846</c:v>
                </c:pt>
                <c:pt idx="33">
                  <c:v>100.76281503449951</c:v>
                </c:pt>
                <c:pt idx="34">
                  <c:v>100.89947545245354</c:v>
                </c:pt>
                <c:pt idx="35">
                  <c:v>101.03416320241226</c:v>
                </c:pt>
                <c:pt idx="36">
                  <c:v>101.16690232491328</c:v>
                </c:pt>
                <c:pt idx="37">
                  <c:v>101.29771657534314</c:v>
                </c:pt>
                <c:pt idx="38">
                  <c:v>101.42662942706107</c:v>
                </c:pt>
                <c:pt idx="39">
                  <c:v>101.55366407442239</c:v>
                </c:pt>
                <c:pt idx="40">
                  <c:v>101.67884343570479</c:v>
                </c:pt>
                <c:pt idx="41">
                  <c:v>101.80219015593886</c:v>
                </c:pt>
                <c:pt idx="42">
                  <c:v>101.92372660965157</c:v>
                </c:pt>
                <c:pt idx="43">
                  <c:v>102.04347490352576</c:v>
                </c:pt>
                <c:pt idx="44">
                  <c:v>102.1614568789788</c:v>
                </c:pt>
                <c:pt idx="45">
                  <c:v>102.27769411466592</c:v>
                </c:pt>
                <c:pt idx="46">
                  <c:v>102.39220792891403</c:v>
                </c:pt>
                <c:pt idx="47">
                  <c:v>102.50501938208805</c:v>
                </c:pt>
                <c:pt idx="48">
                  <c:v>102.61614927889433</c:v>
                </c:pt>
                <c:pt idx="49">
                  <c:v>102.7256181706278</c:v>
                </c:pt>
                <c:pt idx="50">
                  <c:v>102.83344635736127</c:v>
                </c:pt>
                <c:pt idx="51">
                  <c:v>102.93965389009152</c:v>
                </c:pt>
                <c:pt idx="52">
                  <c:v>103.04426057283118</c:v>
                </c:pt>
                <c:pt idx="53">
                  <c:v>103.14728596466489</c:v>
                </c:pt>
                <c:pt idx="54">
                  <c:v>103.24874938176436</c:v>
                </c:pt>
                <c:pt idx="55">
                  <c:v>103.34866989936778</c:v>
                </c:pt>
                <c:pt idx="56">
                  <c:v>103.44706635372964</c:v>
                </c:pt>
                <c:pt idx="57">
                  <c:v>103.59435964109902</c:v>
                </c:pt>
                <c:pt idx="58">
                  <c:v>103.73962492461624</c:v>
                </c:pt>
                <c:pt idx="59">
                  <c:v>103.882878166300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14.39</c:v>
                </c:pt>
                <c:pt idx="1">
                  <c:v>14.49</c:v>
                </c:pt>
                <c:pt idx="2">
                  <c:v>14.59</c:v>
                </c:pt>
                <c:pt idx="3">
                  <c:v>14.69</c:v>
                </c:pt>
                <c:pt idx="4">
                  <c:v>14.79</c:v>
                </c:pt>
                <c:pt idx="5">
                  <c:v>14.89</c:v>
                </c:pt>
                <c:pt idx="6">
                  <c:v>14.99</c:v>
                </c:pt>
                <c:pt idx="7">
                  <c:v>15.09</c:v>
                </c:pt>
                <c:pt idx="8">
                  <c:v>15.19</c:v>
                </c:pt>
                <c:pt idx="9">
                  <c:v>15.29</c:v>
                </c:pt>
                <c:pt idx="10">
                  <c:v>15.39</c:v>
                </c:pt>
                <c:pt idx="11">
                  <c:v>15.49</c:v>
                </c:pt>
                <c:pt idx="12">
                  <c:v>15.59</c:v>
                </c:pt>
                <c:pt idx="13">
                  <c:v>15.69</c:v>
                </c:pt>
                <c:pt idx="14">
                  <c:v>15.79</c:v>
                </c:pt>
                <c:pt idx="15">
                  <c:v>15.89</c:v>
                </c:pt>
                <c:pt idx="16">
                  <c:v>15.99</c:v>
                </c:pt>
                <c:pt idx="17">
                  <c:v>16.09</c:v>
                </c:pt>
                <c:pt idx="18">
                  <c:v>16.19</c:v>
                </c:pt>
                <c:pt idx="19">
                  <c:v>16.29</c:v>
                </c:pt>
                <c:pt idx="20">
                  <c:v>16.39</c:v>
                </c:pt>
                <c:pt idx="21">
                  <c:v>16.49</c:v>
                </c:pt>
                <c:pt idx="22">
                  <c:v>16.59</c:v>
                </c:pt>
                <c:pt idx="23">
                  <c:v>16.69</c:v>
                </c:pt>
                <c:pt idx="24">
                  <c:v>16.79</c:v>
                </c:pt>
                <c:pt idx="25">
                  <c:v>16.89</c:v>
                </c:pt>
                <c:pt idx="26">
                  <c:v>16.99</c:v>
                </c:pt>
                <c:pt idx="27">
                  <c:v>17.09</c:v>
                </c:pt>
                <c:pt idx="28">
                  <c:v>17.19</c:v>
                </c:pt>
                <c:pt idx="29">
                  <c:v>17.29</c:v>
                </c:pt>
                <c:pt idx="30">
                  <c:v>17.39</c:v>
                </c:pt>
                <c:pt idx="31">
                  <c:v>17.49</c:v>
                </c:pt>
                <c:pt idx="32">
                  <c:v>17.59</c:v>
                </c:pt>
                <c:pt idx="33">
                  <c:v>17.69</c:v>
                </c:pt>
                <c:pt idx="34">
                  <c:v>17.79</c:v>
                </c:pt>
                <c:pt idx="35">
                  <c:v>17.89</c:v>
                </c:pt>
                <c:pt idx="36">
                  <c:v>17.99</c:v>
                </c:pt>
                <c:pt idx="37">
                  <c:v>18.09</c:v>
                </c:pt>
                <c:pt idx="38">
                  <c:v>18.19</c:v>
                </c:pt>
                <c:pt idx="39">
                  <c:v>18.29</c:v>
                </c:pt>
                <c:pt idx="40">
                  <c:v>18.39</c:v>
                </c:pt>
                <c:pt idx="41">
                  <c:v>18.49</c:v>
                </c:pt>
                <c:pt idx="42">
                  <c:v>18.59</c:v>
                </c:pt>
                <c:pt idx="43">
                  <c:v>18.69</c:v>
                </c:pt>
                <c:pt idx="44">
                  <c:v>18.79</c:v>
                </c:pt>
                <c:pt idx="45">
                  <c:v>18.89</c:v>
                </c:pt>
                <c:pt idx="46">
                  <c:v>18.99</c:v>
                </c:pt>
                <c:pt idx="47">
                  <c:v>19.09</c:v>
                </c:pt>
                <c:pt idx="48">
                  <c:v>19.19</c:v>
                </c:pt>
                <c:pt idx="49">
                  <c:v>19.29</c:v>
                </c:pt>
                <c:pt idx="50">
                  <c:v>19.39</c:v>
                </c:pt>
                <c:pt idx="51">
                  <c:v>19.49</c:v>
                </c:pt>
                <c:pt idx="52">
                  <c:v>19.59</c:v>
                </c:pt>
                <c:pt idx="53">
                  <c:v>19.69</c:v>
                </c:pt>
                <c:pt idx="54">
                  <c:v>19.79</c:v>
                </c:pt>
                <c:pt idx="55">
                  <c:v>19.89</c:v>
                </c:pt>
                <c:pt idx="56">
                  <c:v>19.99</c:v>
                </c:pt>
                <c:pt idx="57">
                  <c:v>20.09</c:v>
                </c:pt>
                <c:pt idx="58">
                  <c:v>20.19</c:v>
                </c:pt>
                <c:pt idx="59">
                  <c:v>20.29</c:v>
                </c:pt>
              </c:strCache>
            </c:strRef>
          </c:cat>
          <c:val>
            <c:numRef>
              <c:f>Sheet1!$D$2:$D$61</c:f>
              <c:numCache>
                <c:formatCode>General</c:formatCode>
                <c:ptCount val="60"/>
                <c:pt idx="0">
                  <c:v>87.53112228904043</c:v>
                </c:pt>
                <c:pt idx="1">
                  <c:v>87.87815210788663</c:v>
                </c:pt>
                <c:pt idx="2">
                  <c:v>88.21702479590124</c:v>
                </c:pt>
                <c:pt idx="3">
                  <c:v>88.54815084790454</c:v>
                </c:pt>
                <c:pt idx="4">
                  <c:v>88.8719050617036</c:v>
                </c:pt>
                <c:pt idx="5">
                  <c:v>89.18862979242397</c:v>
                </c:pt>
                <c:pt idx="6">
                  <c:v>89.49863791962945</c:v>
                </c:pt>
                <c:pt idx="7">
                  <c:v>90.17236014571208</c:v>
                </c:pt>
                <c:pt idx="8">
                  <c:v>90.8307101893293</c:v>
                </c:pt>
                <c:pt idx="9">
                  <c:v>91.47406846701189</c:v>
                </c:pt>
                <c:pt idx="10">
                  <c:v>92.10280427578724</c:v>
                </c:pt>
                <c:pt idx="11">
                  <c:v>92.71727613996158</c:v>
                </c:pt>
                <c:pt idx="12">
                  <c:v>93.31783214731382</c:v>
                </c:pt>
                <c:pt idx="13">
                  <c:v>93.90481027496519</c:v>
                </c:pt>
                <c:pt idx="14">
                  <c:v>94.47853870520373</c:v>
                </c:pt>
                <c:pt idx="15">
                  <c:v>95.03933613152708</c:v>
                </c:pt>
                <c:pt idx="16">
                  <c:v>95.58751205517069</c:v>
                </c:pt>
                <c:pt idx="17">
                  <c:v>96.12336707238275</c:v>
                </c:pt>
                <c:pt idx="18">
                  <c:v>96.64719315270534</c:v>
                </c:pt>
                <c:pt idx="19">
                  <c:v>97.1592739085142</c:v>
                </c:pt>
                <c:pt idx="20">
                  <c:v>97.65988485606694</c:v>
                </c:pt>
                <c:pt idx="21">
                  <c:v>98.14929366830691</c:v>
                </c:pt>
                <c:pt idx="22">
                  <c:v>98.62776041966127</c:v>
                </c:pt>
                <c:pt idx="23">
                  <c:v>99.09553782307002</c:v>
                </c:pt>
                <c:pt idx="24">
                  <c:v>99.55287145947557</c:v>
                </c:pt>
                <c:pt idx="25">
                  <c:v>100.0</c:v>
                </c:pt>
                <c:pt idx="26">
                  <c:v>100.43715542103226</c:v>
                </c:pt>
                <c:pt idx="27">
                  <c:v>101.27229768690806</c:v>
                </c:pt>
                <c:pt idx="28">
                  <c:v>102.09937914643466</c:v>
                </c:pt>
                <c:pt idx="29">
                  <c:v>102.91848503482103</c:v>
                </c:pt>
                <c:pt idx="30">
                  <c:v>103.72969961527481</c:v>
                </c:pt>
                <c:pt idx="31">
                  <c:v>104.53310619171788</c:v>
                </c:pt>
                <c:pt idx="32">
                  <c:v>105.3287871212193</c:v>
                </c:pt>
                <c:pt idx="33">
                  <c:v>106.11682382614764</c:v>
                </c:pt>
                <c:pt idx="34">
                  <c:v>106.89729680604938</c:v>
                </c:pt>
                <c:pt idx="35">
                  <c:v>107.67028564925623</c:v>
                </c:pt>
                <c:pt idx="36">
                  <c:v>108.4358690442284</c:v>
                </c:pt>
                <c:pt idx="37">
                  <c:v>109.19412479063948</c:v>
                </c:pt>
                <c:pt idx="38">
                  <c:v>109.9451298102049</c:v>
                </c:pt>
                <c:pt idx="39">
                  <c:v>110.68896015726439</c:v>
                </c:pt>
                <c:pt idx="40">
                  <c:v>111.42569102912417</c:v>
                </c:pt>
                <c:pt idx="41">
                  <c:v>112.15539677616002</c:v>
                </c:pt>
                <c:pt idx="42">
                  <c:v>112.87815091169414</c:v>
                </c:pt>
                <c:pt idx="43">
                  <c:v>113.59402612164793</c:v>
                </c:pt>
                <c:pt idx="44">
                  <c:v>114.30309427397948</c:v>
                </c:pt>
                <c:pt idx="45">
                  <c:v>115.00542642790914</c:v>
                </c:pt>
                <c:pt idx="46">
                  <c:v>115.70109284294705</c:v>
                </c:pt>
                <c:pt idx="47">
                  <c:v>116.39016298772003</c:v>
                </c:pt>
                <c:pt idx="48">
                  <c:v>117.07270554861249</c:v>
                </c:pt>
                <c:pt idx="49">
                  <c:v>117.74878843822387</c:v>
                </c:pt>
                <c:pt idx="50">
                  <c:v>118.41847880364887</c:v>
                </c:pt>
                <c:pt idx="51">
                  <c:v>119.08184303459515</c:v>
                </c:pt>
                <c:pt idx="52">
                  <c:v>119.73894677133106</c:v>
                </c:pt>
                <c:pt idx="53">
                  <c:v>120.38985491248478</c:v>
                </c:pt>
                <c:pt idx="54">
                  <c:v>121.03463162269283</c:v>
                </c:pt>
                <c:pt idx="55">
                  <c:v>121.67334034010587</c:v>
                </c:pt>
                <c:pt idx="56">
                  <c:v>122.30604378376117</c:v>
                </c:pt>
                <c:pt idx="57">
                  <c:v>122.9928672881756</c:v>
                </c:pt>
                <c:pt idx="58">
                  <c:v>123.67365874346832</c:v>
                </c:pt>
                <c:pt idx="59">
                  <c:v>124.348460904413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14.39</c:v>
                </c:pt>
                <c:pt idx="1">
                  <c:v>14.49</c:v>
                </c:pt>
                <c:pt idx="2">
                  <c:v>14.59</c:v>
                </c:pt>
                <c:pt idx="3">
                  <c:v>14.69</c:v>
                </c:pt>
                <c:pt idx="4">
                  <c:v>14.79</c:v>
                </c:pt>
                <c:pt idx="5">
                  <c:v>14.89</c:v>
                </c:pt>
                <c:pt idx="6">
                  <c:v>14.99</c:v>
                </c:pt>
                <c:pt idx="7">
                  <c:v>15.09</c:v>
                </c:pt>
                <c:pt idx="8">
                  <c:v>15.19</c:v>
                </c:pt>
                <c:pt idx="9">
                  <c:v>15.29</c:v>
                </c:pt>
                <c:pt idx="10">
                  <c:v>15.39</c:v>
                </c:pt>
                <c:pt idx="11">
                  <c:v>15.49</c:v>
                </c:pt>
                <c:pt idx="12">
                  <c:v>15.59</c:v>
                </c:pt>
                <c:pt idx="13">
                  <c:v>15.69</c:v>
                </c:pt>
                <c:pt idx="14">
                  <c:v>15.79</c:v>
                </c:pt>
                <c:pt idx="15">
                  <c:v>15.89</c:v>
                </c:pt>
                <c:pt idx="16">
                  <c:v>15.99</c:v>
                </c:pt>
                <c:pt idx="17">
                  <c:v>16.09</c:v>
                </c:pt>
                <c:pt idx="18">
                  <c:v>16.19</c:v>
                </c:pt>
                <c:pt idx="19">
                  <c:v>16.29</c:v>
                </c:pt>
                <c:pt idx="20">
                  <c:v>16.39</c:v>
                </c:pt>
                <c:pt idx="21">
                  <c:v>16.49</c:v>
                </c:pt>
                <c:pt idx="22">
                  <c:v>16.59</c:v>
                </c:pt>
                <c:pt idx="23">
                  <c:v>16.69</c:v>
                </c:pt>
                <c:pt idx="24">
                  <c:v>16.79</c:v>
                </c:pt>
                <c:pt idx="25">
                  <c:v>16.89</c:v>
                </c:pt>
                <c:pt idx="26">
                  <c:v>16.99</c:v>
                </c:pt>
                <c:pt idx="27">
                  <c:v>17.09</c:v>
                </c:pt>
                <c:pt idx="28">
                  <c:v>17.19</c:v>
                </c:pt>
                <c:pt idx="29">
                  <c:v>17.29</c:v>
                </c:pt>
                <c:pt idx="30">
                  <c:v>17.39</c:v>
                </c:pt>
                <c:pt idx="31">
                  <c:v>17.49</c:v>
                </c:pt>
                <c:pt idx="32">
                  <c:v>17.59</c:v>
                </c:pt>
                <c:pt idx="33">
                  <c:v>17.69</c:v>
                </c:pt>
                <c:pt idx="34">
                  <c:v>17.79</c:v>
                </c:pt>
                <c:pt idx="35">
                  <c:v>17.89</c:v>
                </c:pt>
                <c:pt idx="36">
                  <c:v>17.99</c:v>
                </c:pt>
                <c:pt idx="37">
                  <c:v>18.09</c:v>
                </c:pt>
                <c:pt idx="38">
                  <c:v>18.19</c:v>
                </c:pt>
                <c:pt idx="39">
                  <c:v>18.29</c:v>
                </c:pt>
                <c:pt idx="40">
                  <c:v>18.39</c:v>
                </c:pt>
                <c:pt idx="41">
                  <c:v>18.49</c:v>
                </c:pt>
                <c:pt idx="42">
                  <c:v>18.59</c:v>
                </c:pt>
                <c:pt idx="43">
                  <c:v>18.69</c:v>
                </c:pt>
                <c:pt idx="44">
                  <c:v>18.79</c:v>
                </c:pt>
                <c:pt idx="45">
                  <c:v>18.89</c:v>
                </c:pt>
                <c:pt idx="46">
                  <c:v>18.99</c:v>
                </c:pt>
                <c:pt idx="47">
                  <c:v>19.09</c:v>
                </c:pt>
                <c:pt idx="48">
                  <c:v>19.19</c:v>
                </c:pt>
                <c:pt idx="49">
                  <c:v>19.29</c:v>
                </c:pt>
                <c:pt idx="50">
                  <c:v>19.39</c:v>
                </c:pt>
                <c:pt idx="51">
                  <c:v>19.49</c:v>
                </c:pt>
                <c:pt idx="52">
                  <c:v>19.59</c:v>
                </c:pt>
                <c:pt idx="53">
                  <c:v>19.69</c:v>
                </c:pt>
                <c:pt idx="54">
                  <c:v>19.79</c:v>
                </c:pt>
                <c:pt idx="55">
                  <c:v>19.89</c:v>
                </c:pt>
                <c:pt idx="56">
                  <c:v>19.99</c:v>
                </c:pt>
                <c:pt idx="57">
                  <c:v>20.09</c:v>
                </c:pt>
                <c:pt idx="58">
                  <c:v>20.19</c:v>
                </c:pt>
                <c:pt idx="59">
                  <c:v>20.29</c:v>
                </c:pt>
              </c:strCache>
            </c:strRef>
          </c:cat>
          <c:val>
            <c:numRef>
              <c:f>Sheet1!$E$2:$E$61</c:f>
              <c:numCache>
                <c:formatCode>General</c:formatCode>
                <c:ptCount val="60"/>
                <c:pt idx="0">
                  <c:v>0.36656452073700824</c:v>
                </c:pt>
                <c:pt idx="1">
                  <c:v>0.3709360561356487</c:v>
                </c:pt>
                <c:pt idx="2">
                  <c:v>0.3752476664431492</c:v>
                </c:pt>
                <c:pt idx="3">
                  <c:v>0.37950057545306654</c:v>
                </c:pt>
                <c:pt idx="4">
                  <c:v>0.3836959738610919</c:v>
                </c:pt>
                <c:pt idx="5">
                  <c:v>0.38783502037646383</c:v>
                </c:pt>
                <c:pt idx="6">
                  <c:v>0.3919188427888956</c:v>
                </c:pt>
                <c:pt idx="7">
                  <c:v>0.39594853899307786</c:v>
                </c:pt>
                <c:pt idx="8">
                  <c:v>0.3999251779727154</c:v>
                </c:pt>
                <c:pt idx="9">
                  <c:v>0.4038498007459481</c:v>
                </c:pt>
                <c:pt idx="10">
                  <c:v>0.40772342127391475</c:v>
                </c:pt>
                <c:pt idx="11">
                  <c:v>0.41154702733412163</c:v>
                </c:pt>
                <c:pt idx="12">
                  <c:v>0.4153215813602018</c:v>
                </c:pt>
                <c:pt idx="13">
                  <c:v>0.4190480212495569</c:v>
                </c:pt>
                <c:pt idx="14">
                  <c:v>0.4227272611403134</c:v>
                </c:pt>
                <c:pt idx="15">
                  <c:v>0.4263601921589393</c:v>
                </c:pt>
                <c:pt idx="16">
                  <c:v>0.4299476831398091</c:v>
                </c:pt>
                <c:pt idx="17">
                  <c:v>0.43349058131793317</c:v>
                </c:pt>
                <c:pt idx="18">
                  <c:v>0.4369897129960189</c:v>
                </c:pt>
                <c:pt idx="19">
                  <c:v>0.440445884186958</c:v>
                </c:pt>
                <c:pt idx="20">
                  <c:v>0.4438598812327973</c:v>
                </c:pt>
                <c:pt idx="21">
                  <c:v>0.4472324714011854</c:v>
                </c:pt>
                <c:pt idx="22">
                  <c:v>0.4505644034602498</c:v>
                </c:pt>
                <c:pt idx="23">
                  <c:v>0.4538564082328068</c:v>
                </c:pt>
                <c:pt idx="24">
                  <c:v>0.45710919913076525</c:v>
                </c:pt>
                <c:pt idx="25">
                  <c:v>0.4603234726705474</c:v>
                </c:pt>
                <c:pt idx="26">
                  <c:v>0.4634999089703088</c:v>
                </c:pt>
                <c:pt idx="27">
                  <c:v>0.4666391722296984</c:v>
                </c:pt>
                <c:pt idx="28">
                  <c:v>0.4697419111928765</c:v>
                </c:pt>
                <c:pt idx="29">
                  <c:v>0.47280875959546254</c:v>
                </c:pt>
                <c:pt idx="30">
                  <c:v>0.4758403365960637</c:v>
                </c:pt>
                <c:pt idx="31">
                  <c:v>0.4788372471929987</c:v>
                </c:pt>
                <c:pt idx="32">
                  <c:v>0.4818000826268078</c:v>
                </c:pt>
                <c:pt idx="33">
                  <c:v>0.4847294207691095</c:v>
                </c:pt>
                <c:pt idx="34">
                  <c:v>0.48762582649834435</c:v>
                </c:pt>
                <c:pt idx="35">
                  <c:v>0.4904898520629149</c:v>
                </c:pt>
                <c:pt idx="36">
                  <c:v>0.4933220374322149</c:v>
                </c:pt>
                <c:pt idx="37">
                  <c:v>0.4961229106360169</c:v>
                </c:pt>
                <c:pt idx="38">
                  <c:v>0.49889298809266336</c:v>
                </c:pt>
                <c:pt idx="39">
                  <c:v>0.5016327749264924</c:v>
                </c:pt>
                <c:pt idx="40">
                  <c:v>0.5043427652749075</c:v>
                </c:pt>
                <c:pt idx="41">
                  <c:v>0.5070234425854812</c:v>
                </c:pt>
                <c:pt idx="42">
                  <c:v>0.5096752799034721</c:v>
                </c:pt>
                <c:pt idx="43">
                  <c:v>0.5122987401501095</c:v>
                </c:pt>
                <c:pt idx="44">
                  <c:v>0.5148942763919929</c:v>
                </c:pt>
                <c:pt idx="45">
                  <c:v>0.5174623321019346</c:v>
                </c:pt>
                <c:pt idx="46">
                  <c:v>0.5200033414115612</c:v>
                </c:pt>
                <c:pt idx="47">
                  <c:v>0.5225177293559741</c:v>
                </c:pt>
                <c:pt idx="48">
                  <c:v>0.5250059121107633</c:v>
                </c:pt>
                <c:pt idx="49">
                  <c:v>0.5274682972216457</c:v>
                </c:pt>
                <c:pt idx="50">
                  <c:v>0.529905283827001</c:v>
                </c:pt>
                <c:pt idx="51">
                  <c:v>0.532317262873553</c:v>
                </c:pt>
                <c:pt idx="52">
                  <c:v>0.534704617325449</c:v>
                </c:pt>
                <c:pt idx="53">
                  <c:v>0.5370677223669653</c:v>
                </c:pt>
                <c:pt idx="54">
                  <c:v>0.5394069455990675</c:v>
                </c:pt>
                <c:pt idx="55">
                  <c:v>0.5417226472300425</c:v>
                </c:pt>
                <c:pt idx="56">
                  <c:v>0.5440151802604076</c:v>
                </c:pt>
                <c:pt idx="57">
                  <c:v>0.546284890662297</c:v>
                </c:pt>
                <c:pt idx="58">
                  <c:v>0.5485321175535188</c:v>
                </c:pt>
                <c:pt idx="59">
                  <c:v>0.550757193366463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0</c:f>
              <c:strCache>
                <c:ptCount val="19"/>
                <c:pt idx="0">
                  <c:v>4.19</c:v>
                </c:pt>
                <c:pt idx="1">
                  <c:v>4.29</c:v>
                </c:pt>
                <c:pt idx="2">
                  <c:v>4.39</c:v>
                </c:pt>
                <c:pt idx="3">
                  <c:v>4.49</c:v>
                </c:pt>
                <c:pt idx="4">
                  <c:v>4.59</c:v>
                </c:pt>
                <c:pt idx="5">
                  <c:v>4.69</c:v>
                </c:pt>
                <c:pt idx="6">
                  <c:v>4.79</c:v>
                </c:pt>
                <c:pt idx="7">
                  <c:v>4.89</c:v>
                </c:pt>
                <c:pt idx="8">
                  <c:v>4.99</c:v>
                </c:pt>
                <c:pt idx="9">
                  <c:v>5.09</c:v>
                </c:pt>
                <c:pt idx="10">
                  <c:v>5.19</c:v>
                </c:pt>
                <c:pt idx="11">
                  <c:v>5.29</c:v>
                </c:pt>
                <c:pt idx="12">
                  <c:v>5.39</c:v>
                </c:pt>
                <c:pt idx="13">
                  <c:v>5.49</c:v>
                </c:pt>
                <c:pt idx="14">
                  <c:v>5.59</c:v>
                </c:pt>
                <c:pt idx="15">
                  <c:v>5.69</c:v>
                </c:pt>
                <c:pt idx="16">
                  <c:v>5.79</c:v>
                </c:pt>
                <c:pt idx="17">
                  <c:v>5.89</c:v>
                </c:pt>
                <c:pt idx="18">
                  <c:v>5.99</c:v>
                </c:pt>
              </c:strCache>
            </c:strRef>
          </c:cat>
          <c:val>
            <c:numRef>
              <c:f>Sheet1!$B$2:$B$20</c:f>
              <c:numCache>
                <c:formatCode>General</c:formatCode>
                <c:ptCount val="19"/>
                <c:pt idx="0">
                  <c:v>111.36568355058436</c:v>
                </c:pt>
                <c:pt idx="1">
                  <c:v>109.37447653726056</c:v>
                </c:pt>
                <c:pt idx="2">
                  <c:v>107.45560696566852</c:v>
                </c:pt>
                <c:pt idx="3">
                  <c:v>105.60407202930602</c:v>
                </c:pt>
                <c:pt idx="4">
                  <c:v>104.44078346761603</c:v>
                </c:pt>
                <c:pt idx="5">
                  <c:v>103.29932055937792</c:v>
                </c:pt>
                <c:pt idx="6">
                  <c:v>102.17908548991643</c:v>
                </c:pt>
                <c:pt idx="7">
                  <c:v>101.07949899757998</c:v>
                </c:pt>
                <c:pt idx="8">
                  <c:v>100.0</c:v>
                </c:pt>
                <c:pt idx="9">
                  <c:v>98.94004519211458</c:v>
                </c:pt>
                <c:pt idx="10">
                  <c:v>96.0768112215704</c:v>
                </c:pt>
                <c:pt idx="11">
                  <c:v>93.4303046129212</c:v>
                </c:pt>
                <c:pt idx="12">
                  <c:v>90.97513435388474</c:v>
                </c:pt>
                <c:pt idx="13">
                  <c:v>89.58817364358094</c:v>
                </c:pt>
                <c:pt idx="14">
                  <c:v>88.28991394424355</c:v>
                </c:pt>
                <c:pt idx="15">
                  <c:v>87.0701240583185</c:v>
                </c:pt>
                <c:pt idx="16">
                  <c:v>85.92001682322608</c:v>
                </c:pt>
                <c:pt idx="17">
                  <c:v>84.83203749392018</c:v>
                </c:pt>
                <c:pt idx="18">
                  <c:v>83.799680822498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0</c:f>
              <c:strCache>
                <c:ptCount val="19"/>
                <c:pt idx="0">
                  <c:v>4.19</c:v>
                </c:pt>
                <c:pt idx="1">
                  <c:v>4.29</c:v>
                </c:pt>
                <c:pt idx="2">
                  <c:v>4.39</c:v>
                </c:pt>
                <c:pt idx="3">
                  <c:v>4.49</c:v>
                </c:pt>
                <c:pt idx="4">
                  <c:v>4.59</c:v>
                </c:pt>
                <c:pt idx="5">
                  <c:v>4.69</c:v>
                </c:pt>
                <c:pt idx="6">
                  <c:v>4.79</c:v>
                </c:pt>
                <c:pt idx="7">
                  <c:v>4.89</c:v>
                </c:pt>
                <c:pt idx="8">
                  <c:v>4.99</c:v>
                </c:pt>
                <c:pt idx="9">
                  <c:v>5.09</c:v>
                </c:pt>
                <c:pt idx="10">
                  <c:v>5.19</c:v>
                </c:pt>
                <c:pt idx="11">
                  <c:v>5.29</c:v>
                </c:pt>
                <c:pt idx="12">
                  <c:v>5.39</c:v>
                </c:pt>
                <c:pt idx="13">
                  <c:v>5.49</c:v>
                </c:pt>
                <c:pt idx="14">
                  <c:v>5.59</c:v>
                </c:pt>
                <c:pt idx="15">
                  <c:v>5.69</c:v>
                </c:pt>
                <c:pt idx="16">
                  <c:v>5.79</c:v>
                </c:pt>
                <c:pt idx="17">
                  <c:v>5.89</c:v>
                </c:pt>
                <c:pt idx="18">
                  <c:v>5.99</c:v>
                </c:pt>
              </c:strCache>
            </c:strRef>
          </c:cat>
          <c:val>
            <c:numRef>
              <c:f>Sheet1!$C$2:$C$20</c:f>
              <c:numCache>
                <c:formatCode>General</c:formatCode>
                <c:ptCount val="19"/>
                <c:pt idx="0">
                  <c:v>93.516593153489</c:v>
                </c:pt>
                <c:pt idx="1">
                  <c:v>94.03577798213874</c:v>
                </c:pt>
                <c:pt idx="2">
                  <c:v>94.53880742701702</c:v>
                </c:pt>
                <c:pt idx="3">
                  <c:v>95.02552862320142</c:v>
                </c:pt>
                <c:pt idx="4">
                  <c:v>96.07120035892287</c:v>
                </c:pt>
                <c:pt idx="5">
                  <c:v>97.09075921494733</c:v>
                </c:pt>
                <c:pt idx="6">
                  <c:v>98.08494408230044</c:v>
                </c:pt>
                <c:pt idx="7">
                  <c:v>99.05446407136623</c:v>
                </c:pt>
                <c:pt idx="8">
                  <c:v>100.0</c:v>
                </c:pt>
                <c:pt idx="9">
                  <c:v>100.9222058076893</c:v>
                </c:pt>
                <c:pt idx="10">
                  <c:v>99.92623950510183</c:v>
                </c:pt>
                <c:pt idx="11">
                  <c:v>99.04532420815482</c:v>
                </c:pt>
                <c:pt idx="12">
                  <c:v>98.26505637019658</c:v>
                </c:pt>
                <c:pt idx="13">
                  <c:v>98.5618066186249</c:v>
                </c:pt>
                <c:pt idx="14">
                  <c:v>98.90233819998976</c:v>
                </c:pt>
                <c:pt idx="15">
                  <c:v>99.28031669068876</c:v>
                </c:pt>
                <c:pt idx="16">
                  <c:v>99.69026322582755</c:v>
                </c:pt>
                <c:pt idx="17">
                  <c:v>100.12744937512062</c:v>
                </c:pt>
                <c:pt idx="18">
                  <c:v>100.587801028274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0</c:f>
              <c:strCache>
                <c:ptCount val="19"/>
                <c:pt idx="0">
                  <c:v>4.19</c:v>
                </c:pt>
                <c:pt idx="1">
                  <c:v>4.29</c:v>
                </c:pt>
                <c:pt idx="2">
                  <c:v>4.39</c:v>
                </c:pt>
                <c:pt idx="3">
                  <c:v>4.49</c:v>
                </c:pt>
                <c:pt idx="4">
                  <c:v>4.59</c:v>
                </c:pt>
                <c:pt idx="5">
                  <c:v>4.69</c:v>
                </c:pt>
                <c:pt idx="6">
                  <c:v>4.79</c:v>
                </c:pt>
                <c:pt idx="7">
                  <c:v>4.89</c:v>
                </c:pt>
                <c:pt idx="8">
                  <c:v>4.99</c:v>
                </c:pt>
                <c:pt idx="9">
                  <c:v>5.09</c:v>
                </c:pt>
                <c:pt idx="10">
                  <c:v>5.19</c:v>
                </c:pt>
                <c:pt idx="11">
                  <c:v>5.29</c:v>
                </c:pt>
                <c:pt idx="12">
                  <c:v>5.39</c:v>
                </c:pt>
                <c:pt idx="13">
                  <c:v>5.49</c:v>
                </c:pt>
                <c:pt idx="14">
                  <c:v>5.59</c:v>
                </c:pt>
                <c:pt idx="15">
                  <c:v>5.69</c:v>
                </c:pt>
                <c:pt idx="16">
                  <c:v>5.79</c:v>
                </c:pt>
                <c:pt idx="17">
                  <c:v>5.89</c:v>
                </c:pt>
                <c:pt idx="18">
                  <c:v>5.99</c:v>
                </c:pt>
              </c:strCache>
            </c:strRef>
          </c:cat>
          <c:val>
            <c:numRef>
              <c:f>Sheet1!$D$2:$D$20</c:f>
              <c:numCache>
                <c:formatCode>General</c:formatCode>
                <c:ptCount val="19"/>
                <c:pt idx="0">
                  <c:v>77.97194535685004</c:v>
                </c:pt>
                <c:pt idx="1">
                  <c:v>80.67741539719118</c:v>
                </c:pt>
                <c:pt idx="2">
                  <c:v>83.28970975732982</c:v>
                </c:pt>
                <c:pt idx="3">
                  <c:v>85.81289512681471</c:v>
                </c:pt>
                <c:pt idx="4">
                  <c:v>88.78221875964101</c:v>
                </c:pt>
                <c:pt idx="5">
                  <c:v>91.68372631766348</c:v>
                </c:pt>
                <c:pt idx="6">
                  <c:v>94.5193180994153</c:v>
                </c:pt>
                <c:pt idx="7">
                  <c:v>97.29082267762111</c:v>
                </c:pt>
                <c:pt idx="8">
                  <c:v>100.0</c:v>
                </c:pt>
                <c:pt idx="9">
                  <c:v>102.64854437686355</c:v>
                </c:pt>
                <c:pt idx="10">
                  <c:v>103.27962087156048</c:v>
                </c:pt>
                <c:pt idx="11">
                  <c:v>103.9371279969882</c:v>
                </c:pt>
                <c:pt idx="12">
                  <c:v>104.61624156426525</c:v>
                </c:pt>
                <c:pt idx="13">
                  <c:v>106.37940040909335</c:v>
                </c:pt>
                <c:pt idx="14">
                  <c:v>108.1472383596082</c:v>
                </c:pt>
                <c:pt idx="15">
                  <c:v>109.91681394750049</c:v>
                </c:pt>
                <c:pt idx="16">
                  <c:v>111.68552877665414</c:v>
                </c:pt>
                <c:pt idx="17">
                  <c:v>113.45111514712396</c:v>
                </c:pt>
                <c:pt idx="18">
                  <c:v>115.211615542043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0</c:f>
              <c:strCache>
                <c:ptCount val="19"/>
                <c:pt idx="0">
                  <c:v>4.19</c:v>
                </c:pt>
                <c:pt idx="1">
                  <c:v>4.29</c:v>
                </c:pt>
                <c:pt idx="2">
                  <c:v>4.39</c:v>
                </c:pt>
                <c:pt idx="3">
                  <c:v>4.49</c:v>
                </c:pt>
                <c:pt idx="4">
                  <c:v>4.59</c:v>
                </c:pt>
                <c:pt idx="5">
                  <c:v>4.69</c:v>
                </c:pt>
                <c:pt idx="6">
                  <c:v>4.79</c:v>
                </c:pt>
                <c:pt idx="7">
                  <c:v>4.89</c:v>
                </c:pt>
                <c:pt idx="8">
                  <c:v>4.99</c:v>
                </c:pt>
                <c:pt idx="9">
                  <c:v>5.09</c:v>
                </c:pt>
                <c:pt idx="10">
                  <c:v>5.19</c:v>
                </c:pt>
                <c:pt idx="11">
                  <c:v>5.29</c:v>
                </c:pt>
                <c:pt idx="12">
                  <c:v>5.39</c:v>
                </c:pt>
                <c:pt idx="13">
                  <c:v>5.49</c:v>
                </c:pt>
                <c:pt idx="14">
                  <c:v>5.59</c:v>
                </c:pt>
                <c:pt idx="15">
                  <c:v>5.69</c:v>
                </c:pt>
                <c:pt idx="16">
                  <c:v>5.79</c:v>
                </c:pt>
                <c:pt idx="17">
                  <c:v>5.89</c:v>
                </c:pt>
                <c:pt idx="18">
                  <c:v>5.99</c:v>
                </c:pt>
              </c:strCache>
            </c:strRef>
          </c:cat>
          <c:val>
            <c:numRef>
              <c:f>Sheet1!$E$2:$E$20</c:f>
              <c:numCache>
                <c:formatCode>General</c:formatCode>
                <c:ptCount val="19"/>
                <c:pt idx="0">
                  <c:v>0.44584734740445636</c:v>
                </c:pt>
                <c:pt idx="1">
                  <c:v>0.4587646586537696</c:v>
                </c:pt>
                <c:pt idx="2">
                  <c:v>0.47109348191905953</c:v>
                </c:pt>
                <c:pt idx="3">
                  <c:v>0.4828731371101719</c:v>
                </c:pt>
                <c:pt idx="4">
                  <c:v>0.49413951756528784</c:v>
                </c:pt>
                <c:pt idx="5">
                  <c:v>0.5049254553570728</c:v>
                </c:pt>
                <c:pt idx="6">
                  <c:v>0.5152610408402236</c:v>
                </c:pt>
                <c:pt idx="7">
                  <c:v>0.5251739029907305</c:v>
                </c:pt>
                <c:pt idx="8">
                  <c:v>0.5346894560370083</c:v>
                </c:pt>
                <c:pt idx="9">
                  <c:v>0.5438311170185994</c:v>
                </c:pt>
                <c:pt idx="10">
                  <c:v>0.5526204981935785</c:v>
                </c:pt>
                <c:pt idx="11">
                  <c:v>0.5610775776228112</c:v>
                </c:pt>
                <c:pt idx="12">
                  <c:v>0.5692208507652453</c:v>
                </c:pt>
                <c:pt idx="13">
                  <c:v>0.5770674655054046</c:v>
                </c:pt>
                <c:pt idx="14">
                  <c:v>0.5846333426877767</c:v>
                </c:pt>
                <c:pt idx="15">
                  <c:v>0.591933283941067</c:v>
                </c:pt>
                <c:pt idx="16">
                  <c:v>0.5989810683289588</c:v>
                </c:pt>
                <c:pt idx="17">
                  <c:v>0.6057895391552923</c:v>
                </c:pt>
                <c:pt idx="18">
                  <c:v>0.61237068207423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5</c:f>
              <c:strCache>
                <c:ptCount val="54"/>
                <c:pt idx="0">
                  <c:v>12.69</c:v>
                </c:pt>
                <c:pt idx="1">
                  <c:v>12.79</c:v>
                </c:pt>
                <c:pt idx="2">
                  <c:v>12.89</c:v>
                </c:pt>
                <c:pt idx="3">
                  <c:v>12.99</c:v>
                </c:pt>
                <c:pt idx="4">
                  <c:v>13.09</c:v>
                </c:pt>
                <c:pt idx="5">
                  <c:v>13.19</c:v>
                </c:pt>
                <c:pt idx="6">
                  <c:v>13.29</c:v>
                </c:pt>
                <c:pt idx="7">
                  <c:v>13.39</c:v>
                </c:pt>
                <c:pt idx="8">
                  <c:v>13.49</c:v>
                </c:pt>
                <c:pt idx="9">
                  <c:v>13.59</c:v>
                </c:pt>
                <c:pt idx="10">
                  <c:v>13.69</c:v>
                </c:pt>
                <c:pt idx="11">
                  <c:v>13.79</c:v>
                </c:pt>
                <c:pt idx="12">
                  <c:v>13.89</c:v>
                </c:pt>
                <c:pt idx="13">
                  <c:v>13.99</c:v>
                </c:pt>
                <c:pt idx="14">
                  <c:v>14.09</c:v>
                </c:pt>
                <c:pt idx="15">
                  <c:v>14.19</c:v>
                </c:pt>
                <c:pt idx="16">
                  <c:v>14.29</c:v>
                </c:pt>
                <c:pt idx="17">
                  <c:v>14.39</c:v>
                </c:pt>
                <c:pt idx="18">
                  <c:v>14.49</c:v>
                </c:pt>
                <c:pt idx="19">
                  <c:v>14.59</c:v>
                </c:pt>
                <c:pt idx="20">
                  <c:v>14.69</c:v>
                </c:pt>
                <c:pt idx="21">
                  <c:v>14.79</c:v>
                </c:pt>
                <c:pt idx="22">
                  <c:v>14.89</c:v>
                </c:pt>
                <c:pt idx="23">
                  <c:v>14.99</c:v>
                </c:pt>
                <c:pt idx="24">
                  <c:v>15.09</c:v>
                </c:pt>
                <c:pt idx="25">
                  <c:v>15.19</c:v>
                </c:pt>
                <c:pt idx="26">
                  <c:v>15.29</c:v>
                </c:pt>
                <c:pt idx="27">
                  <c:v>15.39</c:v>
                </c:pt>
                <c:pt idx="28">
                  <c:v>15.49</c:v>
                </c:pt>
                <c:pt idx="29">
                  <c:v>15.59</c:v>
                </c:pt>
                <c:pt idx="30">
                  <c:v>15.69</c:v>
                </c:pt>
                <c:pt idx="31">
                  <c:v>15.79</c:v>
                </c:pt>
                <c:pt idx="32">
                  <c:v>15.89</c:v>
                </c:pt>
                <c:pt idx="33">
                  <c:v>15.99</c:v>
                </c:pt>
                <c:pt idx="34">
                  <c:v>16.09</c:v>
                </c:pt>
                <c:pt idx="35">
                  <c:v>16.19</c:v>
                </c:pt>
                <c:pt idx="36">
                  <c:v>16.29</c:v>
                </c:pt>
                <c:pt idx="37">
                  <c:v>16.39</c:v>
                </c:pt>
                <c:pt idx="38">
                  <c:v>16.49</c:v>
                </c:pt>
                <c:pt idx="39">
                  <c:v>16.59</c:v>
                </c:pt>
                <c:pt idx="40">
                  <c:v>16.69</c:v>
                </c:pt>
                <c:pt idx="41">
                  <c:v>16.79</c:v>
                </c:pt>
                <c:pt idx="42">
                  <c:v>16.89</c:v>
                </c:pt>
                <c:pt idx="43">
                  <c:v>16.99</c:v>
                </c:pt>
                <c:pt idx="44">
                  <c:v>17.09</c:v>
                </c:pt>
                <c:pt idx="45">
                  <c:v>17.19</c:v>
                </c:pt>
                <c:pt idx="46">
                  <c:v>17.29</c:v>
                </c:pt>
                <c:pt idx="47">
                  <c:v>17.39</c:v>
                </c:pt>
                <c:pt idx="48">
                  <c:v>17.49</c:v>
                </c:pt>
                <c:pt idx="49">
                  <c:v>17.59</c:v>
                </c:pt>
                <c:pt idx="50">
                  <c:v>17.69</c:v>
                </c:pt>
                <c:pt idx="51">
                  <c:v>17.79</c:v>
                </c:pt>
                <c:pt idx="52">
                  <c:v>17.89</c:v>
                </c:pt>
                <c:pt idx="53">
                  <c:v>17.99</c:v>
                </c:pt>
              </c:strCache>
            </c:strRef>
          </c:cat>
          <c:val>
            <c:numRef>
              <c:f>Sheet1!$B$2:$B$55</c:f>
              <c:numCache>
                <c:formatCode>General</c:formatCode>
                <c:ptCount val="54"/>
                <c:pt idx="0">
                  <c:v>140.47560622277408</c:v>
                </c:pt>
                <c:pt idx="1">
                  <c:v>138.08343052024534</c:v>
                </c:pt>
                <c:pt idx="2">
                  <c:v>135.77250528689098</c:v>
                </c:pt>
                <c:pt idx="3">
                  <c:v>133.53971966759264</c:v>
                </c:pt>
                <c:pt idx="4">
                  <c:v>131.38205261890167</c:v>
                </c:pt>
                <c:pt idx="5">
                  <c:v>129.29657551507074</c:v>
                </c:pt>
                <c:pt idx="6">
                  <c:v>127.17154612423403</c:v>
                </c:pt>
                <c:pt idx="7">
                  <c:v>125.11835318721154</c:v>
                </c:pt>
                <c:pt idx="8">
                  <c:v>123.13413767873031</c:v>
                </c:pt>
                <c:pt idx="9">
                  <c:v>121.2161427029534</c:v>
                </c:pt>
                <c:pt idx="10">
                  <c:v>119.36171201284927</c:v>
                </c:pt>
                <c:pt idx="11">
                  <c:v>117.56828824241859</c:v>
                </c:pt>
                <c:pt idx="12">
                  <c:v>115.83341090622925</c:v>
                </c:pt>
                <c:pt idx="13">
                  <c:v>114.15471421326346</c:v>
                </c:pt>
                <c:pt idx="14">
                  <c:v>112.52992473528435</c:v>
                </c:pt>
                <c:pt idx="15">
                  <c:v>110.95685896389614</c:v>
                </c:pt>
                <c:pt idx="16">
                  <c:v>109.43342078522585</c:v>
                </c:pt>
                <c:pt idx="17">
                  <c:v>107.9575988966384</c:v>
                </c:pt>
                <c:pt idx="18">
                  <c:v>106.52746418608345</c:v>
                </c:pt>
                <c:pt idx="19">
                  <c:v>105.1411670914749</c:v>
                </c:pt>
                <c:pt idx="20">
                  <c:v>103.79693495484254</c:v>
                </c:pt>
                <c:pt idx="21">
                  <c:v>102.49306938377443</c:v>
                </c:pt>
                <c:pt idx="22">
                  <c:v>101.22794363082342</c:v>
                </c:pt>
                <c:pt idx="23">
                  <c:v>100.0</c:v>
                </c:pt>
                <c:pt idx="24">
                  <c:v>99.17520905304744</c:v>
                </c:pt>
                <c:pt idx="25">
                  <c:v>98.36078971949566</c:v>
                </c:pt>
                <c:pt idx="26">
                  <c:v>97.55654586034291</c:v>
                </c:pt>
                <c:pt idx="27">
                  <c:v>96.76228617385966</c:v>
                </c:pt>
                <c:pt idx="28">
                  <c:v>95.97782413553111</c:v>
                </c:pt>
                <c:pt idx="29">
                  <c:v>95.20297793653124</c:v>
                </c:pt>
                <c:pt idx="30">
                  <c:v>94.43757042098248</c:v>
                </c:pt>
                <c:pt idx="31">
                  <c:v>93.68142902224747</c:v>
                </c:pt>
                <c:pt idx="32">
                  <c:v>92.93438569848453</c:v>
                </c:pt>
                <c:pt idx="33">
                  <c:v>92.19627686768209</c:v>
                </c:pt>
                <c:pt idx="34">
                  <c:v>91.4669433423663</c:v>
                </c:pt>
                <c:pt idx="35">
                  <c:v>90.74623026414899</c:v>
                </c:pt>
                <c:pt idx="36">
                  <c:v>90.03398703826096</c:v>
                </c:pt>
                <c:pt idx="37">
                  <c:v>89.33006726818125</c:v>
                </c:pt>
                <c:pt idx="38">
                  <c:v>88.63432869044495</c:v>
                </c:pt>
                <c:pt idx="39">
                  <c:v>87.94663310967874</c:v>
                </c:pt>
                <c:pt idx="40">
                  <c:v>87.26684633388334</c:v>
                </c:pt>
                <c:pt idx="41">
                  <c:v>86.59483810994826</c:v>
                </c:pt>
                <c:pt idx="42">
                  <c:v>85.93048205935506</c:v>
                </c:pt>
                <c:pt idx="43">
                  <c:v>85.27365561399984</c:v>
                </c:pt>
                <c:pt idx="44">
                  <c:v>85.0863431461992</c:v>
                </c:pt>
                <c:pt idx="45">
                  <c:v>84.8997336549445</c:v>
                </c:pt>
                <c:pt idx="46">
                  <c:v>84.71382265576807</c:v>
                </c:pt>
                <c:pt idx="47">
                  <c:v>84.52860570226689</c:v>
                </c:pt>
                <c:pt idx="48">
                  <c:v>84.34407838570174</c:v>
                </c:pt>
                <c:pt idx="49">
                  <c:v>84.16023633460217</c:v>
                </c:pt>
                <c:pt idx="50">
                  <c:v>83.97707521437614</c:v>
                </c:pt>
                <c:pt idx="51">
                  <c:v>83.79459072692237</c:v>
                </c:pt>
                <c:pt idx="52">
                  <c:v>83.61277861024692</c:v>
                </c:pt>
                <c:pt idx="53">
                  <c:v>83.431634638084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5</c:f>
              <c:strCache>
                <c:ptCount val="54"/>
                <c:pt idx="0">
                  <c:v>12.69</c:v>
                </c:pt>
                <c:pt idx="1">
                  <c:v>12.79</c:v>
                </c:pt>
                <c:pt idx="2">
                  <c:v>12.89</c:v>
                </c:pt>
                <c:pt idx="3">
                  <c:v>12.99</c:v>
                </c:pt>
                <c:pt idx="4">
                  <c:v>13.09</c:v>
                </c:pt>
                <c:pt idx="5">
                  <c:v>13.19</c:v>
                </c:pt>
                <c:pt idx="6">
                  <c:v>13.29</c:v>
                </c:pt>
                <c:pt idx="7">
                  <c:v>13.39</c:v>
                </c:pt>
                <c:pt idx="8">
                  <c:v>13.49</c:v>
                </c:pt>
                <c:pt idx="9">
                  <c:v>13.59</c:v>
                </c:pt>
                <c:pt idx="10">
                  <c:v>13.69</c:v>
                </c:pt>
                <c:pt idx="11">
                  <c:v>13.79</c:v>
                </c:pt>
                <c:pt idx="12">
                  <c:v>13.89</c:v>
                </c:pt>
                <c:pt idx="13">
                  <c:v>13.99</c:v>
                </c:pt>
                <c:pt idx="14">
                  <c:v>14.09</c:v>
                </c:pt>
                <c:pt idx="15">
                  <c:v>14.19</c:v>
                </c:pt>
                <c:pt idx="16">
                  <c:v>14.29</c:v>
                </c:pt>
                <c:pt idx="17">
                  <c:v>14.39</c:v>
                </c:pt>
                <c:pt idx="18">
                  <c:v>14.49</c:v>
                </c:pt>
                <c:pt idx="19">
                  <c:v>14.59</c:v>
                </c:pt>
                <c:pt idx="20">
                  <c:v>14.69</c:v>
                </c:pt>
                <c:pt idx="21">
                  <c:v>14.79</c:v>
                </c:pt>
                <c:pt idx="22">
                  <c:v>14.89</c:v>
                </c:pt>
                <c:pt idx="23">
                  <c:v>14.99</c:v>
                </c:pt>
                <c:pt idx="24">
                  <c:v>15.09</c:v>
                </c:pt>
                <c:pt idx="25">
                  <c:v>15.19</c:v>
                </c:pt>
                <c:pt idx="26">
                  <c:v>15.29</c:v>
                </c:pt>
                <c:pt idx="27">
                  <c:v>15.39</c:v>
                </c:pt>
                <c:pt idx="28">
                  <c:v>15.49</c:v>
                </c:pt>
                <c:pt idx="29">
                  <c:v>15.59</c:v>
                </c:pt>
                <c:pt idx="30">
                  <c:v>15.69</c:v>
                </c:pt>
                <c:pt idx="31">
                  <c:v>15.79</c:v>
                </c:pt>
                <c:pt idx="32">
                  <c:v>15.89</c:v>
                </c:pt>
                <c:pt idx="33">
                  <c:v>15.99</c:v>
                </c:pt>
                <c:pt idx="34">
                  <c:v>16.09</c:v>
                </c:pt>
                <c:pt idx="35">
                  <c:v>16.19</c:v>
                </c:pt>
                <c:pt idx="36">
                  <c:v>16.29</c:v>
                </c:pt>
                <c:pt idx="37">
                  <c:v>16.39</c:v>
                </c:pt>
                <c:pt idx="38">
                  <c:v>16.49</c:v>
                </c:pt>
                <c:pt idx="39">
                  <c:v>16.59</c:v>
                </c:pt>
                <c:pt idx="40">
                  <c:v>16.69</c:v>
                </c:pt>
                <c:pt idx="41">
                  <c:v>16.79</c:v>
                </c:pt>
                <c:pt idx="42">
                  <c:v>16.89</c:v>
                </c:pt>
                <c:pt idx="43">
                  <c:v>16.99</c:v>
                </c:pt>
                <c:pt idx="44">
                  <c:v>17.09</c:v>
                </c:pt>
                <c:pt idx="45">
                  <c:v>17.19</c:v>
                </c:pt>
                <c:pt idx="46">
                  <c:v>17.29</c:v>
                </c:pt>
                <c:pt idx="47">
                  <c:v>17.39</c:v>
                </c:pt>
                <c:pt idx="48">
                  <c:v>17.49</c:v>
                </c:pt>
                <c:pt idx="49">
                  <c:v>17.59</c:v>
                </c:pt>
                <c:pt idx="50">
                  <c:v>17.69</c:v>
                </c:pt>
                <c:pt idx="51">
                  <c:v>17.79</c:v>
                </c:pt>
                <c:pt idx="52">
                  <c:v>17.89</c:v>
                </c:pt>
                <c:pt idx="53">
                  <c:v>17.99</c:v>
                </c:pt>
              </c:strCache>
            </c:strRef>
          </c:cat>
          <c:val>
            <c:numRef>
              <c:f>Sheet1!$C$2:$C$55</c:f>
              <c:numCache>
                <c:formatCode>General</c:formatCode>
                <c:ptCount val="54"/>
                <c:pt idx="0">
                  <c:v>118.95908167468727</c:v>
                </c:pt>
                <c:pt idx="1">
                  <c:v>117.85287163002343</c:v>
                </c:pt>
                <c:pt idx="2">
                  <c:v>116.7846292186085</c:v>
                </c:pt>
                <c:pt idx="3">
                  <c:v>115.75328353714566</c:v>
                </c:pt>
                <c:pt idx="4">
                  <c:v>114.7577593295536</c:v>
                </c:pt>
                <c:pt idx="5">
                  <c:v>113.79698222207047</c:v>
                </c:pt>
                <c:pt idx="6">
                  <c:v>112.77411487086621</c:v>
                </c:pt>
                <c:pt idx="7">
                  <c:v>111.78705509795176</c:v>
                </c:pt>
                <c:pt idx="8">
                  <c:v>110.83466712560627</c:v>
                </c:pt>
                <c:pt idx="9">
                  <c:v>109.91583166171411</c:v>
                </c:pt>
                <c:pt idx="10">
                  <c:v>109.02944792419926</c:v>
                </c:pt>
                <c:pt idx="11">
                  <c:v>108.17443534624928</c:v>
                </c:pt>
                <c:pt idx="12">
                  <c:v>107.34973499884408</c:v>
                </c:pt>
                <c:pt idx="13">
                  <c:v>106.55431076311521</c:v>
                </c:pt>
                <c:pt idx="14">
                  <c:v>105.7871502812262</c:v>
                </c:pt>
                <c:pt idx="15">
                  <c:v>105.04726571095378</c:v>
                </c:pt>
                <c:pt idx="16">
                  <c:v>104.33369430601257</c:v>
                </c:pt>
                <c:pt idx="17">
                  <c:v>103.64549884141918</c:v>
                </c:pt>
                <c:pt idx="18">
                  <c:v>102.98176790084625</c:v>
                </c:pt>
                <c:pt idx="19">
                  <c:v>102.3416160409363</c:v>
                </c:pt>
                <c:pt idx="20">
                  <c:v>101.72418384589928</c:v>
                </c:pt>
                <c:pt idx="21">
                  <c:v>101.12863788433646</c:v>
                </c:pt>
                <c:pt idx="22">
                  <c:v>100.55417057909581</c:v>
                </c:pt>
                <c:pt idx="23">
                  <c:v>100.0</c:v>
                </c:pt>
                <c:pt idx="24">
                  <c:v>99.83323533320319</c:v>
                </c:pt>
                <c:pt idx="25">
                  <c:v>99.66605448783342</c:v>
                </c:pt>
                <c:pt idx="26">
                  <c:v>99.49846359975898</c:v>
                </c:pt>
                <c:pt idx="27">
                  <c:v>99.33046856274753</c:v>
                </c:pt>
                <c:pt idx="28">
                  <c:v>99.1620751263883</c:v>
                </c:pt>
                <c:pt idx="29">
                  <c:v>98.99328899010888</c:v>
                </c:pt>
                <c:pt idx="30">
                  <c:v>98.8241158934875</c:v>
                </c:pt>
                <c:pt idx="31">
                  <c:v>98.65456170306491</c:v>
                </c:pt>
                <c:pt idx="32">
                  <c:v>98.48463249585757</c:v>
                </c:pt>
                <c:pt idx="33">
                  <c:v>98.3143346397691</c:v>
                </c:pt>
                <c:pt idx="34">
                  <c:v>98.14367487108517</c:v>
                </c:pt>
                <c:pt idx="35">
                  <c:v>97.9726603692185</c:v>
                </c:pt>
                <c:pt idx="36">
                  <c:v>97.80129882885619</c:v>
                </c:pt>
                <c:pt idx="37">
                  <c:v>97.62959852963003</c:v>
                </c:pt>
                <c:pt idx="38">
                  <c:v>97.45756840340671</c:v>
                </c:pt>
                <c:pt idx="39">
                  <c:v>97.28521809926328</c:v>
                </c:pt>
                <c:pt idx="40">
                  <c:v>97.11255804617994</c:v>
                </c:pt>
                <c:pt idx="41">
                  <c:v>96.93959951344814</c:v>
                </c:pt>
                <c:pt idx="42">
                  <c:v>96.76635466875727</c:v>
                </c:pt>
                <c:pt idx="43">
                  <c:v>96.59283663389078</c:v>
                </c:pt>
                <c:pt idx="44">
                  <c:v>96.94223683934004</c:v>
                </c:pt>
                <c:pt idx="45">
                  <c:v>97.28992998393198</c:v>
                </c:pt>
                <c:pt idx="46">
                  <c:v>97.6359253900345</c:v>
                </c:pt>
                <c:pt idx="47">
                  <c:v>97.98023229887505</c:v>
                </c:pt>
                <c:pt idx="48">
                  <c:v>98.32285987142268</c:v>
                </c:pt>
                <c:pt idx="49">
                  <c:v>98.66381718926027</c:v>
                </c:pt>
                <c:pt idx="50">
                  <c:v>99.00311325544514</c:v>
                </c:pt>
                <c:pt idx="51">
                  <c:v>99.34075699535542</c:v>
                </c:pt>
                <c:pt idx="52">
                  <c:v>99.67675725752576</c:v>
                </c:pt>
                <c:pt idx="53">
                  <c:v>100.0111228144712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5</c:f>
              <c:strCache>
                <c:ptCount val="54"/>
                <c:pt idx="0">
                  <c:v>12.69</c:v>
                </c:pt>
                <c:pt idx="1">
                  <c:v>12.79</c:v>
                </c:pt>
                <c:pt idx="2">
                  <c:v>12.89</c:v>
                </c:pt>
                <c:pt idx="3">
                  <c:v>12.99</c:v>
                </c:pt>
                <c:pt idx="4">
                  <c:v>13.09</c:v>
                </c:pt>
                <c:pt idx="5">
                  <c:v>13.19</c:v>
                </c:pt>
                <c:pt idx="6">
                  <c:v>13.29</c:v>
                </c:pt>
                <c:pt idx="7">
                  <c:v>13.39</c:v>
                </c:pt>
                <c:pt idx="8">
                  <c:v>13.49</c:v>
                </c:pt>
                <c:pt idx="9">
                  <c:v>13.59</c:v>
                </c:pt>
                <c:pt idx="10">
                  <c:v>13.69</c:v>
                </c:pt>
                <c:pt idx="11">
                  <c:v>13.79</c:v>
                </c:pt>
                <c:pt idx="12">
                  <c:v>13.89</c:v>
                </c:pt>
                <c:pt idx="13">
                  <c:v>13.99</c:v>
                </c:pt>
                <c:pt idx="14">
                  <c:v>14.09</c:v>
                </c:pt>
                <c:pt idx="15">
                  <c:v>14.19</c:v>
                </c:pt>
                <c:pt idx="16">
                  <c:v>14.29</c:v>
                </c:pt>
                <c:pt idx="17">
                  <c:v>14.39</c:v>
                </c:pt>
                <c:pt idx="18">
                  <c:v>14.49</c:v>
                </c:pt>
                <c:pt idx="19">
                  <c:v>14.59</c:v>
                </c:pt>
                <c:pt idx="20">
                  <c:v>14.69</c:v>
                </c:pt>
                <c:pt idx="21">
                  <c:v>14.79</c:v>
                </c:pt>
                <c:pt idx="22">
                  <c:v>14.89</c:v>
                </c:pt>
                <c:pt idx="23">
                  <c:v>14.99</c:v>
                </c:pt>
                <c:pt idx="24">
                  <c:v>15.09</c:v>
                </c:pt>
                <c:pt idx="25">
                  <c:v>15.19</c:v>
                </c:pt>
                <c:pt idx="26">
                  <c:v>15.29</c:v>
                </c:pt>
                <c:pt idx="27">
                  <c:v>15.39</c:v>
                </c:pt>
                <c:pt idx="28">
                  <c:v>15.49</c:v>
                </c:pt>
                <c:pt idx="29">
                  <c:v>15.59</c:v>
                </c:pt>
                <c:pt idx="30">
                  <c:v>15.69</c:v>
                </c:pt>
                <c:pt idx="31">
                  <c:v>15.79</c:v>
                </c:pt>
                <c:pt idx="32">
                  <c:v>15.89</c:v>
                </c:pt>
                <c:pt idx="33">
                  <c:v>15.99</c:v>
                </c:pt>
                <c:pt idx="34">
                  <c:v>16.09</c:v>
                </c:pt>
                <c:pt idx="35">
                  <c:v>16.19</c:v>
                </c:pt>
                <c:pt idx="36">
                  <c:v>16.29</c:v>
                </c:pt>
                <c:pt idx="37">
                  <c:v>16.39</c:v>
                </c:pt>
                <c:pt idx="38">
                  <c:v>16.49</c:v>
                </c:pt>
                <c:pt idx="39">
                  <c:v>16.59</c:v>
                </c:pt>
                <c:pt idx="40">
                  <c:v>16.69</c:v>
                </c:pt>
                <c:pt idx="41">
                  <c:v>16.79</c:v>
                </c:pt>
                <c:pt idx="42">
                  <c:v>16.89</c:v>
                </c:pt>
                <c:pt idx="43">
                  <c:v>16.99</c:v>
                </c:pt>
                <c:pt idx="44">
                  <c:v>17.09</c:v>
                </c:pt>
                <c:pt idx="45">
                  <c:v>17.19</c:v>
                </c:pt>
                <c:pt idx="46">
                  <c:v>17.29</c:v>
                </c:pt>
                <c:pt idx="47">
                  <c:v>17.39</c:v>
                </c:pt>
                <c:pt idx="48">
                  <c:v>17.49</c:v>
                </c:pt>
                <c:pt idx="49">
                  <c:v>17.59</c:v>
                </c:pt>
                <c:pt idx="50">
                  <c:v>17.69</c:v>
                </c:pt>
                <c:pt idx="51">
                  <c:v>17.79</c:v>
                </c:pt>
                <c:pt idx="52">
                  <c:v>17.89</c:v>
                </c:pt>
                <c:pt idx="53">
                  <c:v>17.99</c:v>
                </c:pt>
              </c:strCache>
            </c:strRef>
          </c:cat>
          <c:val>
            <c:numRef>
              <c:f>Sheet1!$D$2:$D$55</c:f>
              <c:numCache>
                <c:formatCode>General</c:formatCode>
                <c:ptCount val="54"/>
                <c:pt idx="0">
                  <c:v>41.14079568759359</c:v>
                </c:pt>
                <c:pt idx="1">
                  <c:v>44.623621720541074</c:v>
                </c:pt>
                <c:pt idx="2">
                  <c:v>47.98950125107893</c:v>
                </c:pt>
                <c:pt idx="3">
                  <c:v>51.243191698754956</c:v>
                </c:pt>
                <c:pt idx="4">
                  <c:v>54.38928700129031</c:v>
                </c:pt>
                <c:pt idx="5">
                  <c:v>57.43221684590374</c:v>
                </c:pt>
                <c:pt idx="6">
                  <c:v>60.49492460204044</c:v>
                </c:pt>
                <c:pt idx="7">
                  <c:v>63.45597808056077</c:v>
                </c:pt>
                <c:pt idx="8">
                  <c:v>66.31963326570556</c:v>
                </c:pt>
                <c:pt idx="9">
                  <c:v>69.08997653479862</c:v>
                </c:pt>
                <c:pt idx="10">
                  <c:v>71.77092872182342</c:v>
                </c:pt>
                <c:pt idx="11">
                  <c:v>74.36624946602068</c:v>
                </c:pt>
                <c:pt idx="12">
                  <c:v>76.87954177502306</c:v>
                </c:pt>
                <c:pt idx="13">
                  <c:v>79.31425674229042</c:v>
                </c:pt>
                <c:pt idx="14">
                  <c:v>81.67369836783067</c:v>
                </c:pt>
                <c:pt idx="15">
                  <c:v>83.96102843929745</c:v>
                </c:pt>
                <c:pt idx="16">
                  <c:v>86.17927143756343</c:v>
                </c:pt>
                <c:pt idx="17">
                  <c:v>88.33131943687155</c:v>
                </c:pt>
                <c:pt idx="18">
                  <c:v>90.41993697472914</c:v>
                </c:pt>
                <c:pt idx="19">
                  <c:v>92.44776587096605</c:v>
                </c:pt>
                <c:pt idx="20">
                  <c:v>94.41732997892554</c:v>
                </c:pt>
                <c:pt idx="21">
                  <c:v>96.3310398547332</c:v>
                </c:pt>
                <c:pt idx="22">
                  <c:v>98.1911973330727</c:v>
                </c:pt>
                <c:pt idx="23">
                  <c:v>100.0</c:v>
                </c:pt>
                <c:pt idx="24">
                  <c:v>101.39634352476843</c:v>
                </c:pt>
                <c:pt idx="25">
                  <c:v>102.77306786211999</c:v>
                </c:pt>
                <c:pt idx="26">
                  <c:v>104.13053919107725</c:v>
                </c:pt>
                <c:pt idx="27">
                  <c:v>105.46911467080753</c:v>
                </c:pt>
                <c:pt idx="28">
                  <c:v>106.78914262973854</c:v>
                </c:pt>
                <c:pt idx="29">
                  <c:v>108.09096275433441</c:v>
                </c:pt>
                <c:pt idx="30">
                  <c:v>109.37490627721942</c:v>
                </c:pt>
                <c:pt idx="31">
                  <c:v>110.64129616435372</c:v>
                </c:pt>
                <c:pt idx="32">
                  <c:v>111.89044730099225</c:v>
                </c:pt>
                <c:pt idx="33">
                  <c:v>113.12266667618385</c:v>
                </c:pt>
                <c:pt idx="34">
                  <c:v>114.33825356559694</c:v>
                </c:pt>
                <c:pt idx="35">
                  <c:v>115.5374997124939</c:v>
                </c:pt>
                <c:pt idx="36">
                  <c:v>116.72068950670176</c:v>
                </c:pt>
                <c:pt idx="37">
                  <c:v>117.8881001614699</c:v>
                </c:pt>
                <c:pt idx="38">
                  <c:v>119.04000188813161</c:v>
                </c:pt>
                <c:pt idx="39">
                  <c:v>120.17665806852386</c:v>
                </c:pt>
                <c:pt idx="40">
                  <c:v>121.29832542514856</c:v>
                </c:pt>
                <c:pt idx="41">
                  <c:v>122.40525418908865</c:v>
                </c:pt>
                <c:pt idx="42">
                  <c:v>123.49768826572134</c:v>
                </c:pt>
                <c:pt idx="43">
                  <c:v>124.57586539828698</c:v>
                </c:pt>
                <c:pt idx="44">
                  <c:v>125.2365966643731</c:v>
                </c:pt>
                <c:pt idx="45">
                  <c:v>125.89455476389242</c:v>
                </c:pt>
                <c:pt idx="46">
                  <c:v>126.54975560231408</c:v>
                </c:pt>
                <c:pt idx="47">
                  <c:v>127.2022149510889</c:v>
                </c:pt>
                <c:pt idx="48">
                  <c:v>127.85194844905558</c:v>
                </c:pt>
                <c:pt idx="49">
                  <c:v>128.49897160382838</c:v>
                </c:pt>
                <c:pt idx="50">
                  <c:v>129.14329979316835</c:v>
                </c:pt>
                <c:pt idx="51">
                  <c:v>129.78494826633832</c:v>
                </c:pt>
                <c:pt idx="52">
                  <c:v>130.4239321454426</c:v>
                </c:pt>
                <c:pt idx="53">
                  <c:v>131.0602664267492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5</c:f>
              <c:strCache>
                <c:ptCount val="54"/>
                <c:pt idx="0">
                  <c:v>12.69</c:v>
                </c:pt>
                <c:pt idx="1">
                  <c:v>12.79</c:v>
                </c:pt>
                <c:pt idx="2">
                  <c:v>12.89</c:v>
                </c:pt>
                <c:pt idx="3">
                  <c:v>12.99</c:v>
                </c:pt>
                <c:pt idx="4">
                  <c:v>13.09</c:v>
                </c:pt>
                <c:pt idx="5">
                  <c:v>13.19</c:v>
                </c:pt>
                <c:pt idx="6">
                  <c:v>13.29</c:v>
                </c:pt>
                <c:pt idx="7">
                  <c:v>13.39</c:v>
                </c:pt>
                <c:pt idx="8">
                  <c:v>13.49</c:v>
                </c:pt>
                <c:pt idx="9">
                  <c:v>13.59</c:v>
                </c:pt>
                <c:pt idx="10">
                  <c:v>13.69</c:v>
                </c:pt>
                <c:pt idx="11">
                  <c:v>13.79</c:v>
                </c:pt>
                <c:pt idx="12">
                  <c:v>13.89</c:v>
                </c:pt>
                <c:pt idx="13">
                  <c:v>13.99</c:v>
                </c:pt>
                <c:pt idx="14">
                  <c:v>14.09</c:v>
                </c:pt>
                <c:pt idx="15">
                  <c:v>14.19</c:v>
                </c:pt>
                <c:pt idx="16">
                  <c:v>14.29</c:v>
                </c:pt>
                <c:pt idx="17">
                  <c:v>14.39</c:v>
                </c:pt>
                <c:pt idx="18">
                  <c:v>14.49</c:v>
                </c:pt>
                <c:pt idx="19">
                  <c:v>14.59</c:v>
                </c:pt>
                <c:pt idx="20">
                  <c:v>14.69</c:v>
                </c:pt>
                <c:pt idx="21">
                  <c:v>14.79</c:v>
                </c:pt>
                <c:pt idx="22">
                  <c:v>14.89</c:v>
                </c:pt>
                <c:pt idx="23">
                  <c:v>14.99</c:v>
                </c:pt>
                <c:pt idx="24">
                  <c:v>15.09</c:v>
                </c:pt>
                <c:pt idx="25">
                  <c:v>15.19</c:v>
                </c:pt>
                <c:pt idx="26">
                  <c:v>15.29</c:v>
                </c:pt>
                <c:pt idx="27">
                  <c:v>15.39</c:v>
                </c:pt>
                <c:pt idx="28">
                  <c:v>15.49</c:v>
                </c:pt>
                <c:pt idx="29">
                  <c:v>15.59</c:v>
                </c:pt>
                <c:pt idx="30">
                  <c:v>15.69</c:v>
                </c:pt>
                <c:pt idx="31">
                  <c:v>15.79</c:v>
                </c:pt>
                <c:pt idx="32">
                  <c:v>15.89</c:v>
                </c:pt>
                <c:pt idx="33">
                  <c:v>15.99</c:v>
                </c:pt>
                <c:pt idx="34">
                  <c:v>16.09</c:v>
                </c:pt>
                <c:pt idx="35">
                  <c:v>16.19</c:v>
                </c:pt>
                <c:pt idx="36">
                  <c:v>16.29</c:v>
                </c:pt>
                <c:pt idx="37">
                  <c:v>16.39</c:v>
                </c:pt>
                <c:pt idx="38">
                  <c:v>16.49</c:v>
                </c:pt>
                <c:pt idx="39">
                  <c:v>16.59</c:v>
                </c:pt>
                <c:pt idx="40">
                  <c:v>16.69</c:v>
                </c:pt>
                <c:pt idx="41">
                  <c:v>16.79</c:v>
                </c:pt>
                <c:pt idx="42">
                  <c:v>16.89</c:v>
                </c:pt>
                <c:pt idx="43">
                  <c:v>16.99</c:v>
                </c:pt>
                <c:pt idx="44">
                  <c:v>17.09</c:v>
                </c:pt>
                <c:pt idx="45">
                  <c:v>17.19</c:v>
                </c:pt>
                <c:pt idx="46">
                  <c:v>17.29</c:v>
                </c:pt>
                <c:pt idx="47">
                  <c:v>17.39</c:v>
                </c:pt>
                <c:pt idx="48">
                  <c:v>17.49</c:v>
                </c:pt>
                <c:pt idx="49">
                  <c:v>17.59</c:v>
                </c:pt>
                <c:pt idx="50">
                  <c:v>17.69</c:v>
                </c:pt>
                <c:pt idx="51">
                  <c:v>17.79</c:v>
                </c:pt>
                <c:pt idx="52">
                  <c:v>17.89</c:v>
                </c:pt>
                <c:pt idx="53">
                  <c:v>17.99</c:v>
                </c:pt>
              </c:strCache>
            </c:strRef>
          </c:cat>
          <c:val>
            <c:numRef>
              <c:f>Sheet1!$E$2:$E$55</c:f>
              <c:numCache>
                <c:formatCode>General</c:formatCode>
                <c:ptCount val="54"/>
                <c:pt idx="0">
                  <c:v>-1.5339681875547366</c:v>
                </c:pt>
                <c:pt idx="1">
                  <c:v>-1.514156082882691</c:v>
                </c:pt>
                <c:pt idx="2">
                  <c:v>-1.4946513809208375</c:v>
                </c:pt>
                <c:pt idx="3">
                  <c:v>-1.47544698229943</c:v>
                </c:pt>
                <c:pt idx="4">
                  <c:v>-1.4565360045889688</c:v>
                </c:pt>
                <c:pt idx="5">
                  <c:v>-1.4379117740765426</c:v>
                </c:pt>
                <c:pt idx="6">
                  <c:v>-1.419567817913439</c:v>
                </c:pt>
                <c:pt idx="7">
                  <c:v>-1.4014978566146077</c:v>
                </c:pt>
                <c:pt idx="8">
                  <c:v>-1.3836957968917425</c:v>
                </c:pt>
                <c:pt idx="9">
                  <c:v>-1.3661557248027667</c:v>
                </c:pt>
                <c:pt idx="10">
                  <c:v>-1.3488718992015774</c:v>
                </c:pt>
                <c:pt idx="11">
                  <c:v>-1.331838745472777</c:v>
                </c:pt>
                <c:pt idx="12">
                  <c:v>-1.3150508495370483</c:v>
                </c:pt>
                <c:pt idx="13">
                  <c:v>-1.2985029521136244</c:v>
                </c:pt>
                <c:pt idx="14">
                  <c:v>-1.2821899432270838</c:v>
                </c:pt>
                <c:pt idx="15">
                  <c:v>-1.2661068569464136</c:v>
                </c:pt>
                <c:pt idx="16">
                  <c:v>-1.250248866344969</c:v>
                </c:pt>
                <c:pt idx="17">
                  <c:v>-1.2346112786705772</c:v>
                </c:pt>
                <c:pt idx="18">
                  <c:v>-1.2191895307156386</c:v>
                </c:pt>
                <c:pt idx="19">
                  <c:v>-1.2039791843776284</c:v>
                </c:pt>
                <c:pt idx="20">
                  <c:v>-1.1889759224009262</c:v>
                </c:pt>
                <c:pt idx="21">
                  <c:v>-1.1741755442913862</c:v>
                </c:pt>
                <c:pt idx="22">
                  <c:v>-1.1595739623955406</c:v>
                </c:pt>
                <c:pt idx="23">
                  <c:v>-1.1451671981367313</c:v>
                </c:pt>
                <c:pt idx="24">
                  <c:v>-1.1309513784009015</c:v>
                </c:pt>
                <c:pt idx="25">
                  <c:v>-1.1169227320651485</c:v>
                </c:pt>
                <c:pt idx="26">
                  <c:v>-1.1030775866624982</c:v>
                </c:pt>
                <c:pt idx="27">
                  <c:v>-1.0894123651767122</c:v>
                </c:pt>
                <c:pt idx="28">
                  <c:v>-1.0759235829612395</c:v>
                </c:pt>
                <c:pt idx="29">
                  <c:v>-1.0626078447767549</c:v>
                </c:pt>
                <c:pt idx="30">
                  <c:v>-1.0494618419419761</c:v>
                </c:pt>
                <c:pt idx="31">
                  <c:v>-1.0364823495927546</c:v>
                </c:pt>
                <c:pt idx="32">
                  <c:v>-1.023666224044657</c:v>
                </c:pt>
                <c:pt idx="33">
                  <c:v>-1.0110104002545088</c:v>
                </c:pt>
                <c:pt idx="34">
                  <c:v>-0.998511889376607</c:v>
                </c:pt>
                <c:pt idx="35">
                  <c:v>-0.9861677764094874</c:v>
                </c:pt>
                <c:pt idx="36">
                  <c:v>-0.9739752179293805</c:v>
                </c:pt>
                <c:pt idx="37">
                  <c:v>-0.9619314399066259</c:v>
                </c:pt>
                <c:pt idx="38">
                  <c:v>-0.9500337356015526</c:v>
                </c:pt>
                <c:pt idx="39">
                  <c:v>-0.9382794635364438</c:v>
                </c:pt>
                <c:pt idx="40">
                  <c:v>-0.9266660455404191</c:v>
                </c:pt>
                <c:pt idx="41">
                  <c:v>-0.9151909648641811</c:v>
                </c:pt>
                <c:pt idx="42">
                  <c:v>-0.903851764361729</c:v>
                </c:pt>
                <c:pt idx="43">
                  <c:v>-0.8926460447362919</c:v>
                </c:pt>
                <c:pt idx="44">
                  <c:v>-0.8815714628478414</c:v>
                </c:pt>
                <c:pt idx="45">
                  <c:v>-0.8706257300796744</c:v>
                </c:pt>
                <c:pt idx="46">
                  <c:v>-0.859806610761689</c:v>
                </c:pt>
                <c:pt idx="47">
                  <c:v>-0.8491119206480507</c:v>
                </c:pt>
                <c:pt idx="48">
                  <c:v>-0.8385395254470899</c:v>
                </c:pt>
                <c:pt idx="49">
                  <c:v>-0.8280873394013422</c:v>
                </c:pt>
                <c:pt idx="50">
                  <c:v>-0.8177533239157487</c:v>
                </c:pt>
                <c:pt idx="51">
                  <c:v>-0.807535486232131</c:v>
                </c:pt>
                <c:pt idx="52">
                  <c:v>-0.7974318781481051</c:v>
                </c:pt>
                <c:pt idx="53">
                  <c:v>-0.787440594778743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1.8"/>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4.29</c:v>
                </c:pt>
                <c:pt idx="1">
                  <c:v>4.39</c:v>
                </c:pt>
                <c:pt idx="2">
                  <c:v>4.49</c:v>
                </c:pt>
                <c:pt idx="3">
                  <c:v>4.59</c:v>
                </c:pt>
                <c:pt idx="4">
                  <c:v>4.69</c:v>
                </c:pt>
                <c:pt idx="5">
                  <c:v>4.79</c:v>
                </c:pt>
                <c:pt idx="6">
                  <c:v>4.89</c:v>
                </c:pt>
                <c:pt idx="7">
                  <c:v>4.99</c:v>
                </c:pt>
                <c:pt idx="8">
                  <c:v>5.09</c:v>
                </c:pt>
                <c:pt idx="9">
                  <c:v>5.19</c:v>
                </c:pt>
                <c:pt idx="10">
                  <c:v>5.29</c:v>
                </c:pt>
                <c:pt idx="11">
                  <c:v>5.39</c:v>
                </c:pt>
                <c:pt idx="12">
                  <c:v>5.49</c:v>
                </c:pt>
                <c:pt idx="13">
                  <c:v>5.59</c:v>
                </c:pt>
                <c:pt idx="14">
                  <c:v>5.69</c:v>
                </c:pt>
                <c:pt idx="15">
                  <c:v>5.79</c:v>
                </c:pt>
                <c:pt idx="16">
                  <c:v>5.89</c:v>
                </c:pt>
                <c:pt idx="17">
                  <c:v>5.99</c:v>
                </c:pt>
              </c:strCache>
            </c:strRef>
          </c:cat>
          <c:val>
            <c:numRef>
              <c:f>Sheet1!$B$2:$B$19</c:f>
              <c:numCache>
                <c:formatCode>General</c:formatCode>
                <c:ptCount val="18"/>
                <c:pt idx="0">
                  <c:v>112.97395753551498</c:v>
                </c:pt>
                <c:pt idx="1">
                  <c:v>110.56143384668415</c:v>
                </c:pt>
                <c:pt idx="2">
                  <c:v>108.2107066946522</c:v>
                </c:pt>
                <c:pt idx="3">
                  <c:v>106.52653307317826</c:v>
                </c:pt>
                <c:pt idx="4">
                  <c:v>104.86320345382983</c:v>
                </c:pt>
                <c:pt idx="5">
                  <c:v>103.22089375812023</c:v>
                </c:pt>
                <c:pt idx="6">
                  <c:v>101.59977266657285</c:v>
                </c:pt>
                <c:pt idx="7">
                  <c:v>100.0</c:v>
                </c:pt>
                <c:pt idx="8">
                  <c:v>98.42172497434856</c:v>
                </c:pt>
                <c:pt idx="9">
                  <c:v>94.43111677379726</c:v>
                </c:pt>
                <c:pt idx="10">
                  <c:v>90.72615418487551</c:v>
                </c:pt>
                <c:pt idx="11">
                  <c:v>87.28841237068282</c:v>
                </c:pt>
                <c:pt idx="12">
                  <c:v>83.91123144587029</c:v>
                </c:pt>
                <c:pt idx="13">
                  <c:v>80.76636475755087</c:v>
                </c:pt>
                <c:pt idx="14">
                  <c:v>77.84076535629599</c:v>
                </c:pt>
                <c:pt idx="15">
                  <c:v>75.12100095280667</c:v>
                </c:pt>
                <c:pt idx="16">
                  <c:v>72.59350835507246</c:v>
                </c:pt>
                <c:pt idx="17">
                  <c:v>70.2448385676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4.29</c:v>
                </c:pt>
                <c:pt idx="1">
                  <c:v>4.39</c:v>
                </c:pt>
                <c:pt idx="2">
                  <c:v>4.49</c:v>
                </c:pt>
                <c:pt idx="3">
                  <c:v>4.59</c:v>
                </c:pt>
                <c:pt idx="4">
                  <c:v>4.69</c:v>
                </c:pt>
                <c:pt idx="5">
                  <c:v>4.79</c:v>
                </c:pt>
                <c:pt idx="6">
                  <c:v>4.89</c:v>
                </c:pt>
                <c:pt idx="7">
                  <c:v>4.99</c:v>
                </c:pt>
                <c:pt idx="8">
                  <c:v>5.09</c:v>
                </c:pt>
                <c:pt idx="9">
                  <c:v>5.19</c:v>
                </c:pt>
                <c:pt idx="10">
                  <c:v>5.29</c:v>
                </c:pt>
                <c:pt idx="11">
                  <c:v>5.39</c:v>
                </c:pt>
                <c:pt idx="12">
                  <c:v>5.49</c:v>
                </c:pt>
                <c:pt idx="13">
                  <c:v>5.59</c:v>
                </c:pt>
                <c:pt idx="14">
                  <c:v>5.69</c:v>
                </c:pt>
                <c:pt idx="15">
                  <c:v>5.79</c:v>
                </c:pt>
                <c:pt idx="16">
                  <c:v>5.89</c:v>
                </c:pt>
                <c:pt idx="17">
                  <c:v>5.99</c:v>
                </c:pt>
              </c:strCache>
            </c:strRef>
          </c:cat>
          <c:val>
            <c:numRef>
              <c:f>Sheet1!$C$2:$C$19</c:f>
              <c:numCache>
                <c:formatCode>General</c:formatCode>
                <c:ptCount val="18"/>
                <c:pt idx="0">
                  <c:v>97.37399223859995</c:v>
                </c:pt>
                <c:pt idx="1">
                  <c:v>97.47685150669773</c:v>
                </c:pt>
                <c:pt idx="2">
                  <c:v>97.53989340541895</c:v>
                </c:pt>
                <c:pt idx="3">
                  <c:v>98.12369401029346</c:v>
                </c:pt>
                <c:pt idx="4">
                  <c:v>98.66013128937534</c:v>
                </c:pt>
                <c:pt idx="5">
                  <c:v>99.15067839151733</c:v>
                </c:pt>
                <c:pt idx="6">
                  <c:v>99.59680995562535</c:v>
                </c:pt>
                <c:pt idx="7">
                  <c:v>100.0</c:v>
                </c:pt>
                <c:pt idx="8">
                  <c:v>100.36171949178416</c:v>
                </c:pt>
                <c:pt idx="9">
                  <c:v>98.15714246071161</c:v>
                </c:pt>
                <c:pt idx="10">
                  <c:v>96.0982231605022</c:v>
                </c:pt>
                <c:pt idx="11">
                  <c:v>94.18182936909227</c:v>
                </c:pt>
                <c:pt idx="12">
                  <c:v>92.20144158200301</c:v>
                </c:pt>
                <c:pt idx="13">
                  <c:v>90.347301803257</c:v>
                </c:pt>
                <c:pt idx="14">
                  <c:v>88.6182829149822</c:v>
                </c:pt>
                <c:pt idx="15">
                  <c:v>87.01179494535091</c:v>
                </c:pt>
                <c:pt idx="16">
                  <c:v>85.52404379176409</c:v>
                </c:pt>
                <c:pt idx="17">
                  <c:v>84.150309264342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4.29</c:v>
                </c:pt>
                <c:pt idx="1">
                  <c:v>4.39</c:v>
                </c:pt>
                <c:pt idx="2">
                  <c:v>4.49</c:v>
                </c:pt>
                <c:pt idx="3">
                  <c:v>4.59</c:v>
                </c:pt>
                <c:pt idx="4">
                  <c:v>4.69</c:v>
                </c:pt>
                <c:pt idx="5">
                  <c:v>4.79</c:v>
                </c:pt>
                <c:pt idx="6">
                  <c:v>4.89</c:v>
                </c:pt>
                <c:pt idx="7">
                  <c:v>4.99</c:v>
                </c:pt>
                <c:pt idx="8">
                  <c:v>5.09</c:v>
                </c:pt>
                <c:pt idx="9">
                  <c:v>5.19</c:v>
                </c:pt>
                <c:pt idx="10">
                  <c:v>5.29</c:v>
                </c:pt>
                <c:pt idx="11">
                  <c:v>5.39</c:v>
                </c:pt>
                <c:pt idx="12">
                  <c:v>5.49</c:v>
                </c:pt>
                <c:pt idx="13">
                  <c:v>5.59</c:v>
                </c:pt>
                <c:pt idx="14">
                  <c:v>5.69</c:v>
                </c:pt>
                <c:pt idx="15">
                  <c:v>5.79</c:v>
                </c:pt>
                <c:pt idx="16">
                  <c:v>5.89</c:v>
                </c:pt>
                <c:pt idx="17">
                  <c:v>5.99</c:v>
                </c:pt>
              </c:strCache>
            </c:strRef>
          </c:cat>
          <c:val>
            <c:numRef>
              <c:f>Sheet1!$D$2:$D$19</c:f>
              <c:numCache>
                <c:formatCode>General</c:formatCode>
                <c:ptCount val="18"/>
                <c:pt idx="0">
                  <c:v>19.279321993205144</c:v>
                </c:pt>
                <c:pt idx="1">
                  <c:v>31.956166562895483</c:v>
                </c:pt>
                <c:pt idx="2">
                  <c:v>44.092064270633756</c:v>
                </c:pt>
                <c:pt idx="3">
                  <c:v>56.02327848303077</c:v>
                </c:pt>
                <c:pt idx="4">
                  <c:v>67.57230753255223</c:v>
                </c:pt>
                <c:pt idx="5">
                  <c:v>78.7464819961635</c:v>
                </c:pt>
                <c:pt idx="6">
                  <c:v>89.55321572123192</c:v>
                </c:pt>
                <c:pt idx="7">
                  <c:v>100.0</c:v>
                </c:pt>
                <c:pt idx="8">
                  <c:v>110.09439644879444</c:v>
                </c:pt>
                <c:pt idx="9">
                  <c:v>116.86083531069282</c:v>
                </c:pt>
                <c:pt idx="10">
                  <c:v>123.07024628235719</c:v>
                </c:pt>
                <c:pt idx="11">
                  <c:v>128.79622731711572</c:v>
                </c:pt>
                <c:pt idx="12">
                  <c:v>133.80165362293798</c:v>
                </c:pt>
                <c:pt idx="13">
                  <c:v>138.40419966184402</c:v>
                </c:pt>
                <c:pt idx="14">
                  <c:v>142.66219269062964</c:v>
                </c:pt>
                <c:pt idx="15">
                  <c:v>146.62713102045814</c:v>
                </c:pt>
                <c:pt idx="16">
                  <c:v>150.3439624091347</c:v>
                </c:pt>
                <c:pt idx="17">
                  <c:v>153.851524649683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4.29</c:v>
                </c:pt>
                <c:pt idx="1">
                  <c:v>4.39</c:v>
                </c:pt>
                <c:pt idx="2">
                  <c:v>4.49</c:v>
                </c:pt>
                <c:pt idx="3">
                  <c:v>4.59</c:v>
                </c:pt>
                <c:pt idx="4">
                  <c:v>4.69</c:v>
                </c:pt>
                <c:pt idx="5">
                  <c:v>4.79</c:v>
                </c:pt>
                <c:pt idx="6">
                  <c:v>4.89</c:v>
                </c:pt>
                <c:pt idx="7">
                  <c:v>4.99</c:v>
                </c:pt>
                <c:pt idx="8">
                  <c:v>5.09</c:v>
                </c:pt>
                <c:pt idx="9">
                  <c:v>5.19</c:v>
                </c:pt>
                <c:pt idx="10">
                  <c:v>5.29</c:v>
                </c:pt>
                <c:pt idx="11">
                  <c:v>5.39</c:v>
                </c:pt>
                <c:pt idx="12">
                  <c:v>5.49</c:v>
                </c:pt>
                <c:pt idx="13">
                  <c:v>5.59</c:v>
                </c:pt>
                <c:pt idx="14">
                  <c:v>5.69</c:v>
                </c:pt>
                <c:pt idx="15">
                  <c:v>5.79</c:v>
                </c:pt>
                <c:pt idx="16">
                  <c:v>5.89</c:v>
                </c:pt>
                <c:pt idx="17">
                  <c:v>5.99</c:v>
                </c:pt>
              </c:strCache>
            </c:strRef>
          </c:cat>
          <c:val>
            <c:numRef>
              <c:f>Sheet1!$E$2:$E$19</c:f>
              <c:numCache>
                <c:formatCode>General</c:formatCode>
                <c:ptCount val="18"/>
                <c:pt idx="0">
                  <c:v>0.033619066122740786</c:v>
                </c:pt>
                <c:pt idx="1">
                  <c:v>0.05563229924067363</c:v>
                </c:pt>
                <c:pt idx="2">
                  <c:v>0.07666498745357642</c:v>
                </c:pt>
                <c:pt idx="3">
                  <c:v>0.09678121866373791</c:v>
                </c:pt>
                <c:pt idx="4">
                  <c:v>0.1160396148542766</c:v>
                </c:pt>
                <c:pt idx="5">
                  <c:v>0.13449390264437502</c:v>
                </c:pt>
                <c:pt idx="6">
                  <c:v>0.15219341383774174</c:v>
                </c:pt>
                <c:pt idx="7">
                  <c:v>0.1691835257848809</c:v>
                </c:pt>
                <c:pt idx="8">
                  <c:v>0.18550604983625893</c:v>
                </c:pt>
                <c:pt idx="9">
                  <c:v>0.20119957488758342</c:v>
                </c:pt>
                <c:pt idx="10">
                  <c:v>0.21629977195965155</c:v>
                </c:pt>
                <c:pt idx="11">
                  <c:v>0.23083966487320173</c:v>
                </c:pt>
                <c:pt idx="12">
                  <c:v>0.24484987134181382</c:v>
                </c:pt>
                <c:pt idx="13">
                  <c:v>0.2583588181872195</c:v>
                </c:pt>
                <c:pt idx="14">
                  <c:v>0.27139293386055513</c:v>
                </c:pt>
                <c:pt idx="15">
                  <c:v>0.28397682101322236</c:v>
                </c:pt>
                <c:pt idx="16">
                  <c:v>0.2961334114883799</c:v>
                </c:pt>
                <c:pt idx="17">
                  <c:v>0.307884105787405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2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4"/>
          <c:min val="0.0"/>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0</c:f>
              <c:strCache>
                <c:ptCount val="29"/>
                <c:pt idx="0">
                  <c:v>6.79</c:v>
                </c:pt>
                <c:pt idx="1">
                  <c:v>6.89</c:v>
                </c:pt>
                <c:pt idx="2">
                  <c:v>6.99</c:v>
                </c:pt>
                <c:pt idx="3">
                  <c:v>7.09</c:v>
                </c:pt>
                <c:pt idx="4">
                  <c:v>7.19</c:v>
                </c:pt>
                <c:pt idx="5">
                  <c:v>7.29</c:v>
                </c:pt>
                <c:pt idx="6">
                  <c:v>7.39</c:v>
                </c:pt>
                <c:pt idx="7">
                  <c:v>7.49</c:v>
                </c:pt>
                <c:pt idx="8">
                  <c:v>7.59</c:v>
                </c:pt>
                <c:pt idx="9">
                  <c:v>7.69</c:v>
                </c:pt>
                <c:pt idx="10">
                  <c:v>7.79</c:v>
                </c:pt>
                <c:pt idx="11">
                  <c:v>7.89</c:v>
                </c:pt>
                <c:pt idx="12">
                  <c:v>7.99</c:v>
                </c:pt>
                <c:pt idx="13">
                  <c:v>8.09</c:v>
                </c:pt>
                <c:pt idx="14">
                  <c:v>8.19</c:v>
                </c:pt>
                <c:pt idx="15">
                  <c:v>8.29</c:v>
                </c:pt>
                <c:pt idx="16">
                  <c:v>8.39</c:v>
                </c:pt>
                <c:pt idx="17">
                  <c:v>8.49</c:v>
                </c:pt>
                <c:pt idx="18">
                  <c:v>8.59</c:v>
                </c:pt>
                <c:pt idx="19">
                  <c:v>8.69</c:v>
                </c:pt>
                <c:pt idx="20">
                  <c:v>8.79</c:v>
                </c:pt>
                <c:pt idx="21">
                  <c:v>8.89</c:v>
                </c:pt>
                <c:pt idx="22">
                  <c:v>8.99</c:v>
                </c:pt>
                <c:pt idx="23">
                  <c:v>9.09</c:v>
                </c:pt>
                <c:pt idx="24">
                  <c:v>9.19</c:v>
                </c:pt>
                <c:pt idx="25">
                  <c:v>9.29</c:v>
                </c:pt>
                <c:pt idx="26">
                  <c:v>9.39</c:v>
                </c:pt>
                <c:pt idx="27">
                  <c:v>9.49</c:v>
                </c:pt>
                <c:pt idx="28">
                  <c:v>9.59</c:v>
                </c:pt>
              </c:strCache>
            </c:strRef>
          </c:cat>
          <c:val>
            <c:numRef>
              <c:f>Sheet1!$B$2:$B$30</c:f>
              <c:numCache>
                <c:formatCode>General</c:formatCode>
                <c:ptCount val="29"/>
                <c:pt idx="0">
                  <c:v>128.26706377248806</c:v>
                </c:pt>
                <c:pt idx="1">
                  <c:v>124.69908118714628</c:v>
                </c:pt>
                <c:pt idx="2">
                  <c:v>121.35597115593923</c:v>
                </c:pt>
                <c:pt idx="3">
                  <c:v>118.21647391347571</c:v>
                </c:pt>
                <c:pt idx="4">
                  <c:v>115.2619517088245</c:v>
                </c:pt>
                <c:pt idx="5">
                  <c:v>114.11916008588823</c:v>
                </c:pt>
                <c:pt idx="6">
                  <c:v>112.99226077303621</c:v>
                </c:pt>
                <c:pt idx="7">
                  <c:v>111.88097757446415</c:v>
                </c:pt>
                <c:pt idx="8">
                  <c:v>110.78504073852164</c:v>
                </c:pt>
                <c:pt idx="9">
                  <c:v>107.94427389352172</c:v>
                </c:pt>
                <c:pt idx="10">
                  <c:v>105.19946660635118</c:v>
                </c:pt>
                <c:pt idx="11">
                  <c:v>102.55143349406836</c:v>
                </c:pt>
                <c:pt idx="12">
                  <c:v>100.0</c:v>
                </c:pt>
                <c:pt idx="13">
                  <c:v>97.54393546783417</c:v>
                </c:pt>
                <c:pt idx="14">
                  <c:v>95.29840407666849</c:v>
                </c:pt>
                <c:pt idx="15">
                  <c:v>93.13420730758239</c:v>
                </c:pt>
                <c:pt idx="16">
                  <c:v>91.04796591217944</c:v>
                </c:pt>
                <c:pt idx="17">
                  <c:v>89.03642939703637</c:v>
                </c:pt>
                <c:pt idx="18">
                  <c:v>83.04701627800408</c:v>
                </c:pt>
                <c:pt idx="19">
                  <c:v>77.72618502682059</c:v>
                </c:pt>
                <c:pt idx="20">
                  <c:v>72.99426314769498</c:v>
                </c:pt>
                <c:pt idx="21">
                  <c:v>68.78015533480018</c:v>
                </c:pt>
                <c:pt idx="22">
                  <c:v>65.02055497786836</c:v>
                </c:pt>
                <c:pt idx="23">
                  <c:v>63.85807548040084</c:v>
                </c:pt>
                <c:pt idx="24">
                  <c:v>62.729817308221584</c:v>
                </c:pt>
                <c:pt idx="25">
                  <c:v>61.63467800954512</c:v>
                </c:pt>
                <c:pt idx="26">
                  <c:v>60.571580747652135</c:v>
                </c:pt>
                <c:pt idx="27">
                  <c:v>59.53947368983997</c:v>
                </c:pt>
                <c:pt idx="28">
                  <c:v>58.53732952497434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0</c:f>
              <c:strCache>
                <c:ptCount val="29"/>
                <c:pt idx="0">
                  <c:v>6.79</c:v>
                </c:pt>
                <c:pt idx="1">
                  <c:v>6.89</c:v>
                </c:pt>
                <c:pt idx="2">
                  <c:v>6.99</c:v>
                </c:pt>
                <c:pt idx="3">
                  <c:v>7.09</c:v>
                </c:pt>
                <c:pt idx="4">
                  <c:v>7.19</c:v>
                </c:pt>
                <c:pt idx="5">
                  <c:v>7.29</c:v>
                </c:pt>
                <c:pt idx="6">
                  <c:v>7.39</c:v>
                </c:pt>
                <c:pt idx="7">
                  <c:v>7.49</c:v>
                </c:pt>
                <c:pt idx="8">
                  <c:v>7.59</c:v>
                </c:pt>
                <c:pt idx="9">
                  <c:v>7.69</c:v>
                </c:pt>
                <c:pt idx="10">
                  <c:v>7.79</c:v>
                </c:pt>
                <c:pt idx="11">
                  <c:v>7.89</c:v>
                </c:pt>
                <c:pt idx="12">
                  <c:v>7.99</c:v>
                </c:pt>
                <c:pt idx="13">
                  <c:v>8.09</c:v>
                </c:pt>
                <c:pt idx="14">
                  <c:v>8.19</c:v>
                </c:pt>
                <c:pt idx="15">
                  <c:v>8.29</c:v>
                </c:pt>
                <c:pt idx="16">
                  <c:v>8.39</c:v>
                </c:pt>
                <c:pt idx="17">
                  <c:v>8.49</c:v>
                </c:pt>
                <c:pt idx="18">
                  <c:v>8.59</c:v>
                </c:pt>
                <c:pt idx="19">
                  <c:v>8.69</c:v>
                </c:pt>
                <c:pt idx="20">
                  <c:v>8.79</c:v>
                </c:pt>
                <c:pt idx="21">
                  <c:v>8.89</c:v>
                </c:pt>
                <c:pt idx="22">
                  <c:v>8.99</c:v>
                </c:pt>
                <c:pt idx="23">
                  <c:v>9.09</c:v>
                </c:pt>
                <c:pt idx="24">
                  <c:v>9.19</c:v>
                </c:pt>
                <c:pt idx="25">
                  <c:v>9.29</c:v>
                </c:pt>
                <c:pt idx="26">
                  <c:v>9.39</c:v>
                </c:pt>
                <c:pt idx="27">
                  <c:v>9.49</c:v>
                </c:pt>
                <c:pt idx="28">
                  <c:v>9.59</c:v>
                </c:pt>
              </c:strCache>
            </c:strRef>
          </c:cat>
          <c:val>
            <c:numRef>
              <c:f>Sheet1!$C$2:$C$30</c:f>
              <c:numCache>
                <c:formatCode>General</c:formatCode>
                <c:ptCount val="29"/>
                <c:pt idx="0">
                  <c:v>109.28057811635679</c:v>
                </c:pt>
                <c:pt idx="1">
                  <c:v>107.78144598247617</c:v>
                </c:pt>
                <c:pt idx="2">
                  <c:v>106.39149254327647</c:v>
                </c:pt>
                <c:pt idx="3">
                  <c:v>105.100135277027</c:v>
                </c:pt>
                <c:pt idx="4">
                  <c:v>103.89810511494045</c:v>
                </c:pt>
                <c:pt idx="5">
                  <c:v>104.27481817028672</c:v>
                </c:pt>
                <c:pt idx="6">
                  <c:v>104.63789313963514</c:v>
                </c:pt>
                <c:pt idx="7">
                  <c:v>104.9876730342144</c:v>
                </c:pt>
                <c:pt idx="8">
                  <c:v>105.32449258253482</c:v>
                </c:pt>
                <c:pt idx="9">
                  <c:v>103.95285236834357</c:v>
                </c:pt>
                <c:pt idx="10">
                  <c:v>102.60552143145179</c:v>
                </c:pt>
                <c:pt idx="11">
                  <c:v>101.28679084197461</c:v>
                </c:pt>
                <c:pt idx="12">
                  <c:v>100.0</c:v>
                </c:pt>
                <c:pt idx="13">
                  <c:v>98.74740875849362</c:v>
                </c:pt>
                <c:pt idx="14">
                  <c:v>97.65312651121351</c:v>
                </c:pt>
                <c:pt idx="15">
                  <c:v>96.5879065144874</c:v>
                </c:pt>
                <c:pt idx="16">
                  <c:v>95.55119176013699</c:v>
                </c:pt>
                <c:pt idx="17">
                  <c:v>94.54239725659616</c:v>
                </c:pt>
                <c:pt idx="18">
                  <c:v>89.22849140022129</c:v>
                </c:pt>
                <c:pt idx="19">
                  <c:v>84.48938911429308</c:v>
                </c:pt>
                <c:pt idx="20">
                  <c:v>80.26311482418464</c:v>
                </c:pt>
                <c:pt idx="21">
                  <c:v>76.49309534032277</c:v>
                </c:pt>
                <c:pt idx="22">
                  <c:v>73.12785234383179</c:v>
                </c:pt>
                <c:pt idx="23">
                  <c:v>72.61296176691202</c:v>
                </c:pt>
                <c:pt idx="24">
                  <c:v>72.10864483879827</c:v>
                </c:pt>
                <c:pt idx="25">
                  <c:v>71.61488660383866</c:v>
                </c:pt>
                <c:pt idx="26">
                  <c:v>71.1316480079605</c:v>
                </c:pt>
                <c:pt idx="27">
                  <c:v>70.65886674281772</c:v>
                </c:pt>
                <c:pt idx="28">
                  <c:v>70.1964581975766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0</c:f>
              <c:strCache>
                <c:ptCount val="29"/>
                <c:pt idx="0">
                  <c:v>6.79</c:v>
                </c:pt>
                <c:pt idx="1">
                  <c:v>6.89</c:v>
                </c:pt>
                <c:pt idx="2">
                  <c:v>6.99</c:v>
                </c:pt>
                <c:pt idx="3">
                  <c:v>7.09</c:v>
                </c:pt>
                <c:pt idx="4">
                  <c:v>7.19</c:v>
                </c:pt>
                <c:pt idx="5">
                  <c:v>7.29</c:v>
                </c:pt>
                <c:pt idx="6">
                  <c:v>7.39</c:v>
                </c:pt>
                <c:pt idx="7">
                  <c:v>7.49</c:v>
                </c:pt>
                <c:pt idx="8">
                  <c:v>7.59</c:v>
                </c:pt>
                <c:pt idx="9">
                  <c:v>7.69</c:v>
                </c:pt>
                <c:pt idx="10">
                  <c:v>7.79</c:v>
                </c:pt>
                <c:pt idx="11">
                  <c:v>7.89</c:v>
                </c:pt>
                <c:pt idx="12">
                  <c:v>7.99</c:v>
                </c:pt>
                <c:pt idx="13">
                  <c:v>8.09</c:v>
                </c:pt>
                <c:pt idx="14">
                  <c:v>8.19</c:v>
                </c:pt>
                <c:pt idx="15">
                  <c:v>8.29</c:v>
                </c:pt>
                <c:pt idx="16">
                  <c:v>8.39</c:v>
                </c:pt>
                <c:pt idx="17">
                  <c:v>8.49</c:v>
                </c:pt>
                <c:pt idx="18">
                  <c:v>8.59</c:v>
                </c:pt>
                <c:pt idx="19">
                  <c:v>8.69</c:v>
                </c:pt>
                <c:pt idx="20">
                  <c:v>8.79</c:v>
                </c:pt>
                <c:pt idx="21">
                  <c:v>8.89</c:v>
                </c:pt>
                <c:pt idx="22">
                  <c:v>8.99</c:v>
                </c:pt>
                <c:pt idx="23">
                  <c:v>9.09</c:v>
                </c:pt>
                <c:pt idx="24">
                  <c:v>9.19</c:v>
                </c:pt>
                <c:pt idx="25">
                  <c:v>9.29</c:v>
                </c:pt>
                <c:pt idx="26">
                  <c:v>9.39</c:v>
                </c:pt>
                <c:pt idx="27">
                  <c:v>9.49</c:v>
                </c:pt>
                <c:pt idx="28">
                  <c:v>9.59</c:v>
                </c:pt>
              </c:strCache>
            </c:strRef>
          </c:cat>
          <c:val>
            <c:numRef>
              <c:f>Sheet1!$D$2:$D$30</c:f>
              <c:numCache>
                <c:formatCode>General</c:formatCode>
                <c:ptCount val="29"/>
                <c:pt idx="0">
                  <c:v>88.6654862386382</c:v>
                </c:pt>
                <c:pt idx="1">
                  <c:v>89.40638838625023</c:v>
                </c:pt>
                <c:pt idx="2">
                  <c:v>90.1310137572854</c:v>
                </c:pt>
                <c:pt idx="3">
                  <c:v>90.84034201109664</c:v>
                </c:pt>
                <c:pt idx="4">
                  <c:v>91.53525276867724</c:v>
                </c:pt>
                <c:pt idx="5">
                  <c:v>93.55789772545813</c:v>
                </c:pt>
                <c:pt idx="6">
                  <c:v>95.53557896003693</c:v>
                </c:pt>
                <c:pt idx="7">
                  <c:v>97.46926596397543</c:v>
                </c:pt>
                <c:pt idx="8">
                  <c:v>99.35990620553909</c:v>
                </c:pt>
                <c:pt idx="9">
                  <c:v>99.59469035590412</c:v>
                </c:pt>
                <c:pt idx="10">
                  <c:v>99.77435712416481</c:v>
                </c:pt>
                <c:pt idx="11">
                  <c:v>99.90704480296438</c:v>
                </c:pt>
                <c:pt idx="12">
                  <c:v>100.0</c:v>
                </c:pt>
                <c:pt idx="13">
                  <c:v>100.05938162776016</c:v>
                </c:pt>
                <c:pt idx="14">
                  <c:v>100.21369073585701</c:v>
                </c:pt>
                <c:pt idx="15">
                  <c:v>100.33992389979906</c:v>
                </c:pt>
                <c:pt idx="16">
                  <c:v>100.44062654895862</c:v>
                </c:pt>
                <c:pt idx="17">
                  <c:v>100.51814346549138</c:v>
                </c:pt>
                <c:pt idx="18">
                  <c:v>95.91045618722619</c:v>
                </c:pt>
                <c:pt idx="19">
                  <c:v>91.78089197569224</c:v>
                </c:pt>
                <c:pt idx="20">
                  <c:v>88.0853949394843</c:v>
                </c:pt>
                <c:pt idx="21">
                  <c:v>84.78222698620034</c:v>
                </c:pt>
                <c:pt idx="22">
                  <c:v>81.83208052123447</c:v>
                </c:pt>
                <c:pt idx="23">
                  <c:v>82.01415997210563</c:v>
                </c:pt>
                <c:pt idx="24">
                  <c:v>82.18125682796341</c:v>
                </c:pt>
                <c:pt idx="25">
                  <c:v>82.33453479949128</c:v>
                </c:pt>
                <c:pt idx="26">
                  <c:v>82.4750796149929</c:v>
                </c:pt>
                <c:pt idx="27">
                  <c:v>82.60390142068816</c:v>
                </c:pt>
                <c:pt idx="28">
                  <c:v>82.721937270434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0</c:f>
              <c:strCache>
                <c:ptCount val="29"/>
                <c:pt idx="0">
                  <c:v>6.79</c:v>
                </c:pt>
                <c:pt idx="1">
                  <c:v>6.89</c:v>
                </c:pt>
                <c:pt idx="2">
                  <c:v>6.99</c:v>
                </c:pt>
                <c:pt idx="3">
                  <c:v>7.09</c:v>
                </c:pt>
                <c:pt idx="4">
                  <c:v>7.19</c:v>
                </c:pt>
                <c:pt idx="5">
                  <c:v>7.29</c:v>
                </c:pt>
                <c:pt idx="6">
                  <c:v>7.39</c:v>
                </c:pt>
                <c:pt idx="7">
                  <c:v>7.49</c:v>
                </c:pt>
                <c:pt idx="8">
                  <c:v>7.59</c:v>
                </c:pt>
                <c:pt idx="9">
                  <c:v>7.69</c:v>
                </c:pt>
                <c:pt idx="10">
                  <c:v>7.79</c:v>
                </c:pt>
                <c:pt idx="11">
                  <c:v>7.89</c:v>
                </c:pt>
                <c:pt idx="12">
                  <c:v>7.99</c:v>
                </c:pt>
                <c:pt idx="13">
                  <c:v>8.09</c:v>
                </c:pt>
                <c:pt idx="14">
                  <c:v>8.19</c:v>
                </c:pt>
                <c:pt idx="15">
                  <c:v>8.29</c:v>
                </c:pt>
                <c:pt idx="16">
                  <c:v>8.39</c:v>
                </c:pt>
                <c:pt idx="17">
                  <c:v>8.49</c:v>
                </c:pt>
                <c:pt idx="18">
                  <c:v>8.59</c:v>
                </c:pt>
                <c:pt idx="19">
                  <c:v>8.69</c:v>
                </c:pt>
                <c:pt idx="20">
                  <c:v>8.79</c:v>
                </c:pt>
                <c:pt idx="21">
                  <c:v>8.89</c:v>
                </c:pt>
                <c:pt idx="22">
                  <c:v>8.99</c:v>
                </c:pt>
                <c:pt idx="23">
                  <c:v>9.09</c:v>
                </c:pt>
                <c:pt idx="24">
                  <c:v>9.19</c:v>
                </c:pt>
                <c:pt idx="25">
                  <c:v>9.29</c:v>
                </c:pt>
                <c:pt idx="26">
                  <c:v>9.39</c:v>
                </c:pt>
                <c:pt idx="27">
                  <c:v>9.49</c:v>
                </c:pt>
                <c:pt idx="28">
                  <c:v>9.59</c:v>
                </c:pt>
              </c:strCache>
            </c:strRef>
          </c:cat>
          <c:val>
            <c:numRef>
              <c:f>Sheet1!$E$2:$E$30</c:f>
              <c:numCache>
                <c:formatCode>General</c:formatCode>
                <c:ptCount val="29"/>
                <c:pt idx="0">
                  <c:v>0.3975053855514111</c:v>
                </c:pt>
                <c:pt idx="1">
                  <c:v>0.4062498647161224</c:v>
                </c:pt>
                <c:pt idx="2">
                  <c:v>0.41474414419085576</c:v>
                </c:pt>
                <c:pt idx="3">
                  <c:v>0.4229988107043838</c:v>
                </c:pt>
                <c:pt idx="4">
                  <c:v>0.43102386201586657</c:v>
                </c:pt>
                <c:pt idx="5">
                  <c:v>0.43882874731057375</c:v>
                </c:pt>
                <c:pt idx="6">
                  <c:v>0.4464224043158433</c:v>
                </c:pt>
                <c:pt idx="7">
                  <c:v>0.4538132934438026</c:v>
                </c:pt>
                <c:pt idx="8">
                  <c:v>0.46100942923505694</c:v>
                </c:pt>
                <c:pt idx="9">
                  <c:v>0.4680184093490354</c:v>
                </c:pt>
                <c:pt idx="10">
                  <c:v>0.4748474413214483</c:v>
                </c:pt>
                <c:pt idx="11">
                  <c:v>0.4815033672869558</c:v>
                </c:pt>
                <c:pt idx="12">
                  <c:v>0.4879926868453168</c:v>
                </c:pt>
                <c:pt idx="13">
                  <c:v>0.49432157823165407</c:v>
                </c:pt>
                <c:pt idx="14">
                  <c:v>0.5004959179357853</c:v>
                </c:pt>
                <c:pt idx="15">
                  <c:v>0.506521298901578</c:v>
                </c:pt>
                <c:pt idx="16">
                  <c:v>0.5124030474248013</c:v>
                </c:pt>
                <c:pt idx="17">
                  <c:v>0.5181462388567823</c:v>
                </c:pt>
                <c:pt idx="18">
                  <c:v>0.5237557122111854</c:v>
                </c:pt>
                <c:pt idx="19">
                  <c:v>0.5292360837622648</c:v>
                </c:pt>
                <c:pt idx="20">
                  <c:v>0.5345917597149127</c:v>
                </c:pt>
                <c:pt idx="21">
                  <c:v>0.5398269480195818</c:v>
                </c:pt>
                <c:pt idx="22">
                  <c:v>0.5449456693986744</c:v>
                </c:pt>
                <c:pt idx="23">
                  <c:v>0.5499517676451137</c:v>
                </c:pt>
                <c:pt idx="24">
                  <c:v>0.5548489192485401</c:v>
                </c:pt>
                <c:pt idx="25">
                  <c:v>0.5596406423997935</c:v>
                </c:pt>
                <c:pt idx="26">
                  <c:v>0.5643303054200302</c:v>
                </c:pt>
                <c:pt idx="27">
                  <c:v>0.5689211346569106</c:v>
                </c:pt>
                <c:pt idx="28">
                  <c:v>0.57341622188676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5.49</c:v>
                </c:pt>
                <c:pt idx="1">
                  <c:v>5.59</c:v>
                </c:pt>
                <c:pt idx="2">
                  <c:v>5.69</c:v>
                </c:pt>
                <c:pt idx="3">
                  <c:v>5.79</c:v>
                </c:pt>
                <c:pt idx="4">
                  <c:v>5.89</c:v>
                </c:pt>
                <c:pt idx="5">
                  <c:v>5.99</c:v>
                </c:pt>
                <c:pt idx="6">
                  <c:v>6.09</c:v>
                </c:pt>
                <c:pt idx="7">
                  <c:v>6.19</c:v>
                </c:pt>
                <c:pt idx="8">
                  <c:v>6.29</c:v>
                </c:pt>
                <c:pt idx="9">
                  <c:v>6.39</c:v>
                </c:pt>
                <c:pt idx="10">
                  <c:v>6.49</c:v>
                </c:pt>
                <c:pt idx="11">
                  <c:v>6.59</c:v>
                </c:pt>
                <c:pt idx="12">
                  <c:v>6.69</c:v>
                </c:pt>
                <c:pt idx="13">
                  <c:v>6.79</c:v>
                </c:pt>
                <c:pt idx="14">
                  <c:v>6.89</c:v>
                </c:pt>
                <c:pt idx="15">
                  <c:v>6.99</c:v>
                </c:pt>
                <c:pt idx="16">
                  <c:v>7.09</c:v>
                </c:pt>
                <c:pt idx="17">
                  <c:v>7.19</c:v>
                </c:pt>
                <c:pt idx="18">
                  <c:v>7.29</c:v>
                </c:pt>
                <c:pt idx="19">
                  <c:v>7.39</c:v>
                </c:pt>
                <c:pt idx="20">
                  <c:v>7.49</c:v>
                </c:pt>
                <c:pt idx="21">
                  <c:v>7.59</c:v>
                </c:pt>
                <c:pt idx="22">
                  <c:v>7.69</c:v>
                </c:pt>
                <c:pt idx="23">
                  <c:v>7.79</c:v>
                </c:pt>
              </c:strCache>
            </c:strRef>
          </c:cat>
          <c:val>
            <c:numRef>
              <c:f>Sheet1!$B$2:$B$25</c:f>
              <c:numCache>
                <c:formatCode>General</c:formatCode>
                <c:ptCount val="24"/>
                <c:pt idx="0">
                  <c:v>134.34325024143516</c:v>
                </c:pt>
                <c:pt idx="1">
                  <c:v>130.10237606868463</c:v>
                </c:pt>
                <c:pt idx="2">
                  <c:v>126.2153015589754</c:v>
                </c:pt>
                <c:pt idx="3">
                  <c:v>122.64071356240127</c:v>
                </c:pt>
                <c:pt idx="4">
                  <c:v>119.34239505690014</c:v>
                </c:pt>
                <c:pt idx="5">
                  <c:v>116.28866383540513</c:v>
                </c:pt>
                <c:pt idx="6">
                  <c:v>111.87909895939359</c:v>
                </c:pt>
                <c:pt idx="7">
                  <c:v>107.8484217956813</c:v>
                </c:pt>
                <c:pt idx="8">
                  <c:v>104.14612640894876</c:v>
                </c:pt>
                <c:pt idx="9">
                  <c:v>102.03138375755485</c:v>
                </c:pt>
                <c:pt idx="10">
                  <c:v>100.0</c:v>
                </c:pt>
                <c:pt idx="11">
                  <c:v>98.04689948686351</c:v>
                </c:pt>
                <c:pt idx="12">
                  <c:v>94.95740722838167</c:v>
                </c:pt>
                <c:pt idx="13">
                  <c:v>92.01762359540062</c:v>
                </c:pt>
                <c:pt idx="14">
                  <c:v>87.63164656371247</c:v>
                </c:pt>
                <c:pt idx="15">
                  <c:v>83.68762933915409</c:v>
                </c:pt>
                <c:pt idx="16">
                  <c:v>80.12669690143505</c:v>
                </c:pt>
                <c:pt idx="17">
                  <c:v>76.89863622373254</c:v>
                </c:pt>
                <c:pt idx="18">
                  <c:v>75.73460179763649</c:v>
                </c:pt>
                <c:pt idx="19">
                  <c:v>74.59978847656684</c:v>
                </c:pt>
                <c:pt idx="20">
                  <c:v>73.49322534302793</c:v>
                </c:pt>
                <c:pt idx="21">
                  <c:v>72.41397679523993</c:v>
                </c:pt>
                <c:pt idx="22">
                  <c:v>71.44165690134305</c:v>
                </c:pt>
                <c:pt idx="23">
                  <c:v>70.498661042199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5.49</c:v>
                </c:pt>
                <c:pt idx="1">
                  <c:v>5.59</c:v>
                </c:pt>
                <c:pt idx="2">
                  <c:v>5.69</c:v>
                </c:pt>
                <c:pt idx="3">
                  <c:v>5.79</c:v>
                </c:pt>
                <c:pt idx="4">
                  <c:v>5.89</c:v>
                </c:pt>
                <c:pt idx="5">
                  <c:v>5.99</c:v>
                </c:pt>
                <c:pt idx="6">
                  <c:v>6.09</c:v>
                </c:pt>
                <c:pt idx="7">
                  <c:v>6.19</c:v>
                </c:pt>
                <c:pt idx="8">
                  <c:v>6.29</c:v>
                </c:pt>
                <c:pt idx="9">
                  <c:v>6.39</c:v>
                </c:pt>
                <c:pt idx="10">
                  <c:v>6.49</c:v>
                </c:pt>
                <c:pt idx="11">
                  <c:v>6.59</c:v>
                </c:pt>
                <c:pt idx="12">
                  <c:v>6.69</c:v>
                </c:pt>
                <c:pt idx="13">
                  <c:v>6.79</c:v>
                </c:pt>
                <c:pt idx="14">
                  <c:v>6.89</c:v>
                </c:pt>
                <c:pt idx="15">
                  <c:v>6.99</c:v>
                </c:pt>
                <c:pt idx="16">
                  <c:v>7.09</c:v>
                </c:pt>
                <c:pt idx="17">
                  <c:v>7.19</c:v>
                </c:pt>
                <c:pt idx="18">
                  <c:v>7.29</c:v>
                </c:pt>
                <c:pt idx="19">
                  <c:v>7.39</c:v>
                </c:pt>
                <c:pt idx="20">
                  <c:v>7.49</c:v>
                </c:pt>
                <c:pt idx="21">
                  <c:v>7.59</c:v>
                </c:pt>
                <c:pt idx="22">
                  <c:v>7.69</c:v>
                </c:pt>
                <c:pt idx="23">
                  <c:v>7.79</c:v>
                </c:pt>
              </c:strCache>
            </c:strRef>
          </c:cat>
          <c:val>
            <c:numRef>
              <c:f>Sheet1!$C$2:$C$25</c:f>
              <c:numCache>
                <c:formatCode>General</c:formatCode>
                <c:ptCount val="24"/>
                <c:pt idx="0">
                  <c:v>113.64830411528415</c:v>
                </c:pt>
                <c:pt idx="1">
                  <c:v>112.06487987194866</c:v>
                </c:pt>
                <c:pt idx="2">
                  <c:v>110.66100665112957</c:v>
                </c:pt>
                <c:pt idx="3">
                  <c:v>109.41617403499122</c:v>
                </c:pt>
                <c:pt idx="4">
                  <c:v>108.31195162518495</c:v>
                </c:pt>
                <c:pt idx="5">
                  <c:v>107.33186336230783</c:v>
                </c:pt>
                <c:pt idx="6">
                  <c:v>104.98533161601684</c:v>
                </c:pt>
                <c:pt idx="7">
                  <c:v>102.86434200543097</c:v>
                </c:pt>
                <c:pt idx="8">
                  <c:v>100.93745059651799</c:v>
                </c:pt>
                <c:pt idx="9">
                  <c:v>100.45962170991636</c:v>
                </c:pt>
                <c:pt idx="10">
                  <c:v>100.0</c:v>
                </c:pt>
                <c:pt idx="11">
                  <c:v>99.55728374696047</c:v>
                </c:pt>
                <c:pt idx="12">
                  <c:v>97.8829796160171</c:v>
                </c:pt>
                <c:pt idx="13">
                  <c:v>96.27012723101763</c:v>
                </c:pt>
                <c:pt idx="14">
                  <c:v>93.0314669384235</c:v>
                </c:pt>
                <c:pt idx="15">
                  <c:v>90.133679222829</c:v>
                </c:pt>
                <c:pt idx="16">
                  <c:v>87.5328710859009</c:v>
                </c:pt>
                <c:pt idx="17">
                  <c:v>85.19111813135866</c:v>
                </c:pt>
                <c:pt idx="18">
                  <c:v>85.06826035660741</c:v>
                </c:pt>
                <c:pt idx="19">
                  <c:v>84.94281122529271</c:v>
                </c:pt>
                <c:pt idx="20">
                  <c:v>84.81500072045087</c:v>
                </c:pt>
                <c:pt idx="21">
                  <c:v>84.68504029435337</c:v>
                </c:pt>
                <c:pt idx="22">
                  <c:v>84.64849723402288</c:v>
                </c:pt>
                <c:pt idx="23">
                  <c:v>84.617194517280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5.49</c:v>
                </c:pt>
                <c:pt idx="1">
                  <c:v>5.59</c:v>
                </c:pt>
                <c:pt idx="2">
                  <c:v>5.69</c:v>
                </c:pt>
                <c:pt idx="3">
                  <c:v>5.79</c:v>
                </c:pt>
                <c:pt idx="4">
                  <c:v>5.89</c:v>
                </c:pt>
                <c:pt idx="5">
                  <c:v>5.99</c:v>
                </c:pt>
                <c:pt idx="6">
                  <c:v>6.09</c:v>
                </c:pt>
                <c:pt idx="7">
                  <c:v>6.19</c:v>
                </c:pt>
                <c:pt idx="8">
                  <c:v>6.29</c:v>
                </c:pt>
                <c:pt idx="9">
                  <c:v>6.39</c:v>
                </c:pt>
                <c:pt idx="10">
                  <c:v>6.49</c:v>
                </c:pt>
                <c:pt idx="11">
                  <c:v>6.59</c:v>
                </c:pt>
                <c:pt idx="12">
                  <c:v>6.69</c:v>
                </c:pt>
                <c:pt idx="13">
                  <c:v>6.79</c:v>
                </c:pt>
                <c:pt idx="14">
                  <c:v>6.89</c:v>
                </c:pt>
                <c:pt idx="15">
                  <c:v>6.99</c:v>
                </c:pt>
                <c:pt idx="16">
                  <c:v>7.09</c:v>
                </c:pt>
                <c:pt idx="17">
                  <c:v>7.19</c:v>
                </c:pt>
                <c:pt idx="18">
                  <c:v>7.29</c:v>
                </c:pt>
                <c:pt idx="19">
                  <c:v>7.39</c:v>
                </c:pt>
                <c:pt idx="20">
                  <c:v>7.49</c:v>
                </c:pt>
                <c:pt idx="21">
                  <c:v>7.59</c:v>
                </c:pt>
                <c:pt idx="22">
                  <c:v>7.69</c:v>
                </c:pt>
                <c:pt idx="23">
                  <c:v>7.79</c:v>
                </c:pt>
              </c:strCache>
            </c:strRef>
          </c:cat>
          <c:val>
            <c:numRef>
              <c:f>Sheet1!$D$2:$D$25</c:f>
              <c:numCache>
                <c:formatCode>General</c:formatCode>
                <c:ptCount val="24"/>
                <c:pt idx="0">
                  <c:v>68.6886420574188</c:v>
                </c:pt>
                <c:pt idx="1">
                  <c:v>72.87860116614222</c:v>
                </c:pt>
                <c:pt idx="2">
                  <c:v>76.8695079803986</c:v>
                </c:pt>
                <c:pt idx="3">
                  <c:v>80.68605737525327</c:v>
                </c:pt>
                <c:pt idx="4">
                  <c:v>84.34846919845762</c:v>
                </c:pt>
                <c:pt idx="5">
                  <c:v>87.87330957935706</c:v>
                </c:pt>
                <c:pt idx="6">
                  <c:v>90.00877864511355</c:v>
                </c:pt>
                <c:pt idx="7">
                  <c:v>92.03659103533714</c:v>
                </c:pt>
                <c:pt idx="8">
                  <c:v>93.96672678058813</c:v>
                </c:pt>
                <c:pt idx="9">
                  <c:v>97.04503623167189</c:v>
                </c:pt>
                <c:pt idx="10">
                  <c:v>100.0</c:v>
                </c:pt>
                <c:pt idx="11">
                  <c:v>102.83851661960564</c:v>
                </c:pt>
                <c:pt idx="12">
                  <c:v>104.23861300056552</c:v>
                </c:pt>
                <c:pt idx="13">
                  <c:v>105.5083941384812</c:v>
                </c:pt>
                <c:pt idx="14">
                  <c:v>104.76186783698896</c:v>
                </c:pt>
                <c:pt idx="15">
                  <c:v>104.13662121147318</c:v>
                </c:pt>
                <c:pt idx="16">
                  <c:v>103.62130945229188</c:v>
                </c:pt>
                <c:pt idx="17">
                  <c:v>103.20470443313947</c:v>
                </c:pt>
                <c:pt idx="18">
                  <c:v>105.343663449547</c:v>
                </c:pt>
                <c:pt idx="19">
                  <c:v>107.4109193884948</c:v>
                </c:pt>
                <c:pt idx="20">
                  <c:v>109.40931119911245</c:v>
                </c:pt>
                <c:pt idx="21">
                  <c:v>111.34154231916634</c:v>
                </c:pt>
                <c:pt idx="22">
                  <c:v>113.33791772848933</c:v>
                </c:pt>
                <c:pt idx="23">
                  <c:v>115.2872101830946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5.49</c:v>
                </c:pt>
                <c:pt idx="1">
                  <c:v>5.59</c:v>
                </c:pt>
                <c:pt idx="2">
                  <c:v>5.69</c:v>
                </c:pt>
                <c:pt idx="3">
                  <c:v>5.79</c:v>
                </c:pt>
                <c:pt idx="4">
                  <c:v>5.89</c:v>
                </c:pt>
                <c:pt idx="5">
                  <c:v>5.99</c:v>
                </c:pt>
                <c:pt idx="6">
                  <c:v>6.09</c:v>
                </c:pt>
                <c:pt idx="7">
                  <c:v>6.19</c:v>
                </c:pt>
                <c:pt idx="8">
                  <c:v>6.29</c:v>
                </c:pt>
                <c:pt idx="9">
                  <c:v>6.39</c:v>
                </c:pt>
                <c:pt idx="10">
                  <c:v>6.49</c:v>
                </c:pt>
                <c:pt idx="11">
                  <c:v>6.59</c:v>
                </c:pt>
                <c:pt idx="12">
                  <c:v>6.69</c:v>
                </c:pt>
                <c:pt idx="13">
                  <c:v>6.79</c:v>
                </c:pt>
                <c:pt idx="14">
                  <c:v>6.89</c:v>
                </c:pt>
                <c:pt idx="15">
                  <c:v>6.99</c:v>
                </c:pt>
                <c:pt idx="16">
                  <c:v>7.09</c:v>
                </c:pt>
                <c:pt idx="17">
                  <c:v>7.19</c:v>
                </c:pt>
                <c:pt idx="18">
                  <c:v>7.29</c:v>
                </c:pt>
                <c:pt idx="19">
                  <c:v>7.39</c:v>
                </c:pt>
                <c:pt idx="20">
                  <c:v>7.49</c:v>
                </c:pt>
                <c:pt idx="21">
                  <c:v>7.59</c:v>
                </c:pt>
                <c:pt idx="22">
                  <c:v>7.69</c:v>
                </c:pt>
                <c:pt idx="23">
                  <c:v>7.79</c:v>
                </c:pt>
              </c:strCache>
            </c:strRef>
          </c:cat>
          <c:val>
            <c:numRef>
              <c:f>Sheet1!$E$2:$E$25</c:f>
              <c:numCache>
                <c:formatCode>General</c:formatCode>
                <c:ptCount val="24"/>
                <c:pt idx="0">
                  <c:v>0.1905587004417678</c:v>
                </c:pt>
                <c:pt idx="1">
                  <c:v>0.20503886680237993</c:v>
                </c:pt>
                <c:pt idx="2">
                  <c:v>0.21901006422237354</c:v>
                </c:pt>
                <c:pt idx="3">
                  <c:v>0.23249866414944817</c:v>
                </c:pt>
                <c:pt idx="4">
                  <c:v>0.24552924710107066</c:v>
                </c:pt>
                <c:pt idx="5">
                  <c:v>0.2581247521578138</c:v>
                </c:pt>
                <c:pt idx="6">
                  <c:v>0.27030661172829296</c:v>
                </c:pt>
                <c:pt idx="7">
                  <c:v>0.282094873251261</c:v>
                </c:pt>
                <c:pt idx="8">
                  <c:v>0.2935083092886017</c:v>
                </c:pt>
                <c:pt idx="9">
                  <c:v>0.3045645172809553</c:v>
                </c:pt>
                <c:pt idx="10">
                  <c:v>0.31528001008094086</c:v>
                </c:pt>
                <c:pt idx="11">
                  <c:v>0.325670298243597</c:v>
                </c:pt>
                <c:pt idx="12">
                  <c:v>0.3357499649365179</c:v>
                </c:pt>
                <c:pt idx="13">
                  <c:v>0.34553273423053066</c:v>
                </c:pt>
                <c:pt idx="14">
                  <c:v>0.3550315334434403</c:v>
                </c:pt>
                <c:pt idx="15">
                  <c:v>0.3642585501323754</c:v>
                </c:pt>
                <c:pt idx="16">
                  <c:v>0.37322528426308954</c:v>
                </c:pt>
                <c:pt idx="17">
                  <c:v>0.3819425960257725</c:v>
                </c:pt>
                <c:pt idx="18">
                  <c:v>0.39042074971540536</c:v>
                </c:pt>
                <c:pt idx="19">
                  <c:v>0.3986694540494323</c:v>
                </c:pt>
                <c:pt idx="20">
                  <c:v>0.40669789925571503</c:v>
                </c:pt>
                <c:pt idx="21">
                  <c:v>0.41451479122863044</c:v>
                </c:pt>
                <c:pt idx="22">
                  <c:v>0.4221283830201956</c:v>
                </c:pt>
                <c:pt idx="23">
                  <c:v>0.429546503905687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7.59</c:v>
                </c:pt>
                <c:pt idx="1">
                  <c:v>7.69</c:v>
                </c:pt>
                <c:pt idx="2">
                  <c:v>7.79</c:v>
                </c:pt>
                <c:pt idx="3">
                  <c:v>7.89</c:v>
                </c:pt>
                <c:pt idx="4">
                  <c:v>7.99</c:v>
                </c:pt>
                <c:pt idx="5">
                  <c:v>8.09</c:v>
                </c:pt>
                <c:pt idx="6">
                  <c:v>8.19</c:v>
                </c:pt>
                <c:pt idx="7">
                  <c:v>8.29</c:v>
                </c:pt>
                <c:pt idx="8">
                  <c:v>8.39</c:v>
                </c:pt>
                <c:pt idx="9">
                  <c:v>8.49</c:v>
                </c:pt>
                <c:pt idx="10">
                  <c:v>8.59</c:v>
                </c:pt>
                <c:pt idx="11">
                  <c:v>8.69</c:v>
                </c:pt>
                <c:pt idx="12">
                  <c:v>8.79</c:v>
                </c:pt>
                <c:pt idx="13">
                  <c:v>8.89</c:v>
                </c:pt>
                <c:pt idx="14">
                  <c:v>8.99</c:v>
                </c:pt>
                <c:pt idx="15">
                  <c:v>9.09</c:v>
                </c:pt>
                <c:pt idx="16">
                  <c:v>9.19</c:v>
                </c:pt>
                <c:pt idx="17">
                  <c:v>9.29</c:v>
                </c:pt>
                <c:pt idx="18">
                  <c:v>9.39</c:v>
                </c:pt>
                <c:pt idx="19">
                  <c:v>9.49</c:v>
                </c:pt>
                <c:pt idx="20">
                  <c:v>9.59</c:v>
                </c:pt>
                <c:pt idx="21">
                  <c:v>9.69</c:v>
                </c:pt>
                <c:pt idx="22">
                  <c:v>9.79</c:v>
                </c:pt>
                <c:pt idx="23">
                  <c:v>9.89</c:v>
                </c:pt>
                <c:pt idx="24">
                  <c:v>9.99</c:v>
                </c:pt>
                <c:pt idx="25">
                  <c:v>10.09</c:v>
                </c:pt>
                <c:pt idx="26">
                  <c:v>10.19</c:v>
                </c:pt>
                <c:pt idx="27">
                  <c:v>10.29</c:v>
                </c:pt>
                <c:pt idx="28">
                  <c:v>10.39</c:v>
                </c:pt>
                <c:pt idx="29">
                  <c:v>10.49</c:v>
                </c:pt>
                <c:pt idx="30">
                  <c:v>10.59</c:v>
                </c:pt>
                <c:pt idx="31">
                  <c:v>10.69</c:v>
                </c:pt>
                <c:pt idx="32">
                  <c:v>10.79</c:v>
                </c:pt>
              </c:strCache>
            </c:strRef>
          </c:cat>
          <c:val>
            <c:numRef>
              <c:f>Sheet1!$B$2:$B$34</c:f>
              <c:numCache>
                <c:formatCode>General</c:formatCode>
                <c:ptCount val="33"/>
                <c:pt idx="0">
                  <c:v>129.08086883757645</c:v>
                </c:pt>
                <c:pt idx="1">
                  <c:v>127.33375771073968</c:v>
                </c:pt>
                <c:pt idx="2">
                  <c:v>125.6430497108306</c:v>
                </c:pt>
                <c:pt idx="3">
                  <c:v>124.00595224090682</c:v>
                </c:pt>
                <c:pt idx="4">
                  <c:v>122.41974825795569</c:v>
                </c:pt>
                <c:pt idx="5">
                  <c:v>120.8818308791933</c:v>
                </c:pt>
                <c:pt idx="6">
                  <c:v>118.36709477526671</c:v>
                </c:pt>
                <c:pt idx="7">
                  <c:v>115.97230605997</c:v>
                </c:pt>
                <c:pt idx="8">
                  <c:v>113.69036231989784</c:v>
                </c:pt>
                <c:pt idx="9">
                  <c:v>111.51432098663952</c:v>
                </c:pt>
                <c:pt idx="10">
                  <c:v>108.77261525354879</c:v>
                </c:pt>
                <c:pt idx="11">
                  <c:v>106.28374808782013</c:v>
                </c:pt>
                <c:pt idx="12">
                  <c:v>104.01152343019173</c:v>
                </c:pt>
                <c:pt idx="13">
                  <c:v>101.92546659089747</c:v>
                </c:pt>
                <c:pt idx="14">
                  <c:v>100.0</c:v>
                </c:pt>
                <c:pt idx="15">
                  <c:v>99.05419910363953</c:v>
                </c:pt>
                <c:pt idx="16">
                  <c:v>98.12424295486535</c:v>
                </c:pt>
                <c:pt idx="17">
                  <c:v>97.20969546258372</c:v>
                </c:pt>
                <c:pt idx="18">
                  <c:v>96.31013853412703</c:v>
                </c:pt>
                <c:pt idx="19">
                  <c:v>95.42517113874354</c:v>
                </c:pt>
                <c:pt idx="20">
                  <c:v>94.55440841685378</c:v>
                </c:pt>
                <c:pt idx="21">
                  <c:v>92.4078433005848</c:v>
                </c:pt>
                <c:pt idx="22">
                  <c:v>90.33146259908088</c:v>
                </c:pt>
                <c:pt idx="23">
                  <c:v>88.3234874943889</c:v>
                </c:pt>
                <c:pt idx="24">
                  <c:v>86.38209210158112</c:v>
                </c:pt>
                <c:pt idx="25">
                  <c:v>85.44296582244803</c:v>
                </c:pt>
                <c:pt idx="26">
                  <c:v>84.5243238639992</c:v>
                </c:pt>
                <c:pt idx="27">
                  <c:v>83.62541116021718</c:v>
                </c:pt>
                <c:pt idx="28">
                  <c:v>82.74550919414303</c:v>
                </c:pt>
                <c:pt idx="29">
                  <c:v>81.88393413900876</c:v>
                </c:pt>
                <c:pt idx="30">
                  <c:v>81.04003506845065</c:v>
                </c:pt>
                <c:pt idx="31">
                  <c:v>80.21319223868029</c:v>
                </c:pt>
                <c:pt idx="32">
                  <c:v>79.4028154442909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7.59</c:v>
                </c:pt>
                <c:pt idx="1">
                  <c:v>7.69</c:v>
                </c:pt>
                <c:pt idx="2">
                  <c:v>7.79</c:v>
                </c:pt>
                <c:pt idx="3">
                  <c:v>7.89</c:v>
                </c:pt>
                <c:pt idx="4">
                  <c:v>7.99</c:v>
                </c:pt>
                <c:pt idx="5">
                  <c:v>8.09</c:v>
                </c:pt>
                <c:pt idx="6">
                  <c:v>8.19</c:v>
                </c:pt>
                <c:pt idx="7">
                  <c:v>8.29</c:v>
                </c:pt>
                <c:pt idx="8">
                  <c:v>8.39</c:v>
                </c:pt>
                <c:pt idx="9">
                  <c:v>8.49</c:v>
                </c:pt>
                <c:pt idx="10">
                  <c:v>8.59</c:v>
                </c:pt>
                <c:pt idx="11">
                  <c:v>8.69</c:v>
                </c:pt>
                <c:pt idx="12">
                  <c:v>8.79</c:v>
                </c:pt>
                <c:pt idx="13">
                  <c:v>8.89</c:v>
                </c:pt>
                <c:pt idx="14">
                  <c:v>8.99</c:v>
                </c:pt>
                <c:pt idx="15">
                  <c:v>9.09</c:v>
                </c:pt>
                <c:pt idx="16">
                  <c:v>9.19</c:v>
                </c:pt>
                <c:pt idx="17">
                  <c:v>9.29</c:v>
                </c:pt>
                <c:pt idx="18">
                  <c:v>9.39</c:v>
                </c:pt>
                <c:pt idx="19">
                  <c:v>9.49</c:v>
                </c:pt>
                <c:pt idx="20">
                  <c:v>9.59</c:v>
                </c:pt>
                <c:pt idx="21">
                  <c:v>9.69</c:v>
                </c:pt>
                <c:pt idx="22">
                  <c:v>9.79</c:v>
                </c:pt>
                <c:pt idx="23">
                  <c:v>9.89</c:v>
                </c:pt>
                <c:pt idx="24">
                  <c:v>9.99</c:v>
                </c:pt>
                <c:pt idx="25">
                  <c:v>10.09</c:v>
                </c:pt>
                <c:pt idx="26">
                  <c:v>10.19</c:v>
                </c:pt>
                <c:pt idx="27">
                  <c:v>10.29</c:v>
                </c:pt>
                <c:pt idx="28">
                  <c:v>10.39</c:v>
                </c:pt>
                <c:pt idx="29">
                  <c:v>10.49</c:v>
                </c:pt>
                <c:pt idx="30">
                  <c:v>10.59</c:v>
                </c:pt>
                <c:pt idx="31">
                  <c:v>10.69</c:v>
                </c:pt>
                <c:pt idx="32">
                  <c:v>10.79</c:v>
                </c:pt>
              </c:strCache>
            </c:strRef>
          </c:cat>
          <c:val>
            <c:numRef>
              <c:f>Sheet1!$C$2:$C$34</c:f>
              <c:numCache>
                <c:formatCode>General</c:formatCode>
                <c:ptCount val="33"/>
                <c:pt idx="0">
                  <c:v>109.54176346563769</c:v>
                </c:pt>
                <c:pt idx="1">
                  <c:v>109.42144316321473</c:v>
                </c:pt>
                <c:pt idx="2">
                  <c:v>109.3131575396989</c:v>
                </c:pt>
                <c:pt idx="3">
                  <c:v>109.21621745242915</c:v>
                </c:pt>
                <c:pt idx="4">
                  <c:v>109.12988404045723</c:v>
                </c:pt>
                <c:pt idx="5">
                  <c:v>109.05340446758511</c:v>
                </c:pt>
                <c:pt idx="6">
                  <c:v>108.06625674523191</c:v>
                </c:pt>
                <c:pt idx="7">
                  <c:v>107.1358122074981</c:v>
                </c:pt>
                <c:pt idx="8">
                  <c:v>106.2592673514758</c:v>
                </c:pt>
                <c:pt idx="9">
                  <c:v>105.43367132824682</c:v>
                </c:pt>
                <c:pt idx="10">
                  <c:v>104.02910294843102</c:v>
                </c:pt>
                <c:pt idx="11">
                  <c:v>102.80843708427085</c:v>
                </c:pt>
                <c:pt idx="12">
                  <c:v>101.74472387442425</c:v>
                </c:pt>
                <c:pt idx="13">
                  <c:v>100.81504152094905</c:v>
                </c:pt>
                <c:pt idx="14">
                  <c:v>100.0</c:v>
                </c:pt>
                <c:pt idx="15">
                  <c:v>100.12366494160531</c:v>
                </c:pt>
                <c:pt idx="16">
                  <c:v>100.24299788993383</c:v>
                </c:pt>
                <c:pt idx="17">
                  <c:v>100.35806928632596</c:v>
                </c:pt>
                <c:pt idx="18">
                  <c:v>100.46894913017626</c:v>
                </c:pt>
                <c:pt idx="19">
                  <c:v>100.57570698305274</c:v>
                </c:pt>
                <c:pt idx="20">
                  <c:v>100.67841195966992</c:v>
                </c:pt>
                <c:pt idx="21">
                  <c:v>99.39744426369383</c:v>
                </c:pt>
                <c:pt idx="22">
                  <c:v>98.14664305912018</c:v>
                </c:pt>
                <c:pt idx="23">
                  <c:v>96.92628144696677</c:v>
                </c:pt>
                <c:pt idx="24">
                  <c:v>95.73650801559295</c:v>
                </c:pt>
                <c:pt idx="25">
                  <c:v>95.62151843132621</c:v>
                </c:pt>
                <c:pt idx="26">
                  <c:v>95.50932622175571</c:v>
                </c:pt>
                <c:pt idx="27">
                  <c:v>95.39973626855016</c:v>
                </c:pt>
                <c:pt idx="28">
                  <c:v>95.29256287956713</c:v>
                </c:pt>
                <c:pt idx="29">
                  <c:v>95.18762959985077</c:v>
                </c:pt>
                <c:pt idx="30">
                  <c:v>95.08476898314535</c:v>
                </c:pt>
                <c:pt idx="31">
                  <c:v>94.98382233265123</c:v>
                </c:pt>
                <c:pt idx="32">
                  <c:v>94.884639418540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7.59</c:v>
                </c:pt>
                <c:pt idx="1">
                  <c:v>7.69</c:v>
                </c:pt>
                <c:pt idx="2">
                  <c:v>7.79</c:v>
                </c:pt>
                <c:pt idx="3">
                  <c:v>7.89</c:v>
                </c:pt>
                <c:pt idx="4">
                  <c:v>7.99</c:v>
                </c:pt>
                <c:pt idx="5">
                  <c:v>8.09</c:v>
                </c:pt>
                <c:pt idx="6">
                  <c:v>8.19</c:v>
                </c:pt>
                <c:pt idx="7">
                  <c:v>8.29</c:v>
                </c:pt>
                <c:pt idx="8">
                  <c:v>8.39</c:v>
                </c:pt>
                <c:pt idx="9">
                  <c:v>8.49</c:v>
                </c:pt>
                <c:pt idx="10">
                  <c:v>8.59</c:v>
                </c:pt>
                <c:pt idx="11">
                  <c:v>8.69</c:v>
                </c:pt>
                <c:pt idx="12">
                  <c:v>8.79</c:v>
                </c:pt>
                <c:pt idx="13">
                  <c:v>8.89</c:v>
                </c:pt>
                <c:pt idx="14">
                  <c:v>8.99</c:v>
                </c:pt>
                <c:pt idx="15">
                  <c:v>9.09</c:v>
                </c:pt>
                <c:pt idx="16">
                  <c:v>9.19</c:v>
                </c:pt>
                <c:pt idx="17">
                  <c:v>9.29</c:v>
                </c:pt>
                <c:pt idx="18">
                  <c:v>9.39</c:v>
                </c:pt>
                <c:pt idx="19">
                  <c:v>9.49</c:v>
                </c:pt>
                <c:pt idx="20">
                  <c:v>9.59</c:v>
                </c:pt>
                <c:pt idx="21">
                  <c:v>9.69</c:v>
                </c:pt>
                <c:pt idx="22">
                  <c:v>9.79</c:v>
                </c:pt>
                <c:pt idx="23">
                  <c:v>9.89</c:v>
                </c:pt>
                <c:pt idx="24">
                  <c:v>9.99</c:v>
                </c:pt>
                <c:pt idx="25">
                  <c:v>10.09</c:v>
                </c:pt>
                <c:pt idx="26">
                  <c:v>10.19</c:v>
                </c:pt>
                <c:pt idx="27">
                  <c:v>10.29</c:v>
                </c:pt>
                <c:pt idx="28">
                  <c:v>10.39</c:v>
                </c:pt>
                <c:pt idx="29">
                  <c:v>10.49</c:v>
                </c:pt>
                <c:pt idx="30">
                  <c:v>10.59</c:v>
                </c:pt>
                <c:pt idx="31">
                  <c:v>10.69</c:v>
                </c:pt>
                <c:pt idx="32">
                  <c:v>10.79</c:v>
                </c:pt>
              </c:strCache>
            </c:strRef>
          </c:cat>
          <c:val>
            <c:numRef>
              <c:f>Sheet1!$D$2:$D$34</c:f>
              <c:numCache>
                <c:formatCode>General</c:formatCode>
                <c:ptCount val="33"/>
                <c:pt idx="0">
                  <c:v>84.54229389813366</c:v>
                </c:pt>
                <c:pt idx="1">
                  <c:v>86.53151498570791</c:v>
                </c:pt>
                <c:pt idx="2">
                  <c:v>88.47500096080927</c:v>
                </c:pt>
                <c:pt idx="3">
                  <c:v>90.37483650348005</c:v>
                </c:pt>
                <c:pt idx="4">
                  <c:v>92.23289293576717</c:v>
                </c:pt>
                <c:pt idx="5">
                  <c:v>94.05086377760954</c:v>
                </c:pt>
                <c:pt idx="6">
                  <c:v>95.0144896668274</c:v>
                </c:pt>
                <c:pt idx="7">
                  <c:v>95.95356737188204</c:v>
                </c:pt>
                <c:pt idx="8">
                  <c:v>96.870882329239</c:v>
                </c:pt>
                <c:pt idx="9">
                  <c:v>97.76866696780931</c:v>
                </c:pt>
                <c:pt idx="10">
                  <c:v>98.04616797806938</c:v>
                </c:pt>
                <c:pt idx="11">
                  <c:v>98.42281276956638</c:v>
                </c:pt>
                <c:pt idx="12">
                  <c:v>98.88283800468675</c:v>
                </c:pt>
                <c:pt idx="13">
                  <c:v>99.41251005679467</c:v>
                </c:pt>
                <c:pt idx="14">
                  <c:v>100.0</c:v>
                </c:pt>
                <c:pt idx="15">
                  <c:v>101.49401070473888</c:v>
                </c:pt>
                <c:pt idx="16">
                  <c:v>102.95831792192074</c:v>
                </c:pt>
                <c:pt idx="17">
                  <c:v>104.39361186014693</c:v>
                </c:pt>
                <c:pt idx="18">
                  <c:v>105.80056005929077</c:v>
                </c:pt>
                <c:pt idx="19">
                  <c:v>107.17980853042668</c:v>
                </c:pt>
                <c:pt idx="20">
                  <c:v>108.53198281128769</c:v>
                </c:pt>
                <c:pt idx="21">
                  <c:v>108.36130962071238</c:v>
                </c:pt>
                <c:pt idx="22">
                  <c:v>108.16834834362152</c:v>
                </c:pt>
                <c:pt idx="23">
                  <c:v>107.95610806445137</c:v>
                </c:pt>
                <c:pt idx="24">
                  <c:v>107.72736769520064</c:v>
                </c:pt>
                <c:pt idx="25">
                  <c:v>108.66389180232436</c:v>
                </c:pt>
                <c:pt idx="26">
                  <c:v>109.58080933792786</c:v>
                </c:pt>
                <c:pt idx="27">
                  <c:v>110.47862967741575</c:v>
                </c:pt>
                <c:pt idx="28">
                  <c:v>111.35783739151267</c:v>
                </c:pt>
                <c:pt idx="29">
                  <c:v>112.21889417100459</c:v>
                </c:pt>
                <c:pt idx="30">
                  <c:v>113.06224057554226</c:v>
                </c:pt>
                <c:pt idx="31">
                  <c:v>113.88829762230779</c:v>
                </c:pt>
                <c:pt idx="32">
                  <c:v>114.69746822918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7.59</c:v>
                </c:pt>
                <c:pt idx="1">
                  <c:v>7.69</c:v>
                </c:pt>
                <c:pt idx="2">
                  <c:v>7.79</c:v>
                </c:pt>
                <c:pt idx="3">
                  <c:v>7.89</c:v>
                </c:pt>
                <c:pt idx="4">
                  <c:v>7.99</c:v>
                </c:pt>
                <c:pt idx="5">
                  <c:v>8.09</c:v>
                </c:pt>
                <c:pt idx="6">
                  <c:v>8.19</c:v>
                </c:pt>
                <c:pt idx="7">
                  <c:v>8.29</c:v>
                </c:pt>
                <c:pt idx="8">
                  <c:v>8.39</c:v>
                </c:pt>
                <c:pt idx="9">
                  <c:v>8.49</c:v>
                </c:pt>
                <c:pt idx="10">
                  <c:v>8.59</c:v>
                </c:pt>
                <c:pt idx="11">
                  <c:v>8.69</c:v>
                </c:pt>
                <c:pt idx="12">
                  <c:v>8.79</c:v>
                </c:pt>
                <c:pt idx="13">
                  <c:v>8.89</c:v>
                </c:pt>
                <c:pt idx="14">
                  <c:v>8.99</c:v>
                </c:pt>
                <c:pt idx="15">
                  <c:v>9.09</c:v>
                </c:pt>
                <c:pt idx="16">
                  <c:v>9.19</c:v>
                </c:pt>
                <c:pt idx="17">
                  <c:v>9.29</c:v>
                </c:pt>
                <c:pt idx="18">
                  <c:v>9.39</c:v>
                </c:pt>
                <c:pt idx="19">
                  <c:v>9.49</c:v>
                </c:pt>
                <c:pt idx="20">
                  <c:v>9.59</c:v>
                </c:pt>
                <c:pt idx="21">
                  <c:v>9.69</c:v>
                </c:pt>
                <c:pt idx="22">
                  <c:v>9.79</c:v>
                </c:pt>
                <c:pt idx="23">
                  <c:v>9.89</c:v>
                </c:pt>
                <c:pt idx="24">
                  <c:v>9.99</c:v>
                </c:pt>
                <c:pt idx="25">
                  <c:v>10.09</c:v>
                </c:pt>
                <c:pt idx="26">
                  <c:v>10.19</c:v>
                </c:pt>
                <c:pt idx="27">
                  <c:v>10.29</c:v>
                </c:pt>
                <c:pt idx="28">
                  <c:v>10.39</c:v>
                </c:pt>
                <c:pt idx="29">
                  <c:v>10.49</c:v>
                </c:pt>
                <c:pt idx="30">
                  <c:v>10.59</c:v>
                </c:pt>
                <c:pt idx="31">
                  <c:v>10.69</c:v>
                </c:pt>
                <c:pt idx="32">
                  <c:v>10.79</c:v>
                </c:pt>
              </c:strCache>
            </c:strRef>
          </c:cat>
          <c:val>
            <c:numRef>
              <c:f>Sheet1!$E$2:$E$34</c:f>
              <c:numCache>
                <c:formatCode>General</c:formatCode>
                <c:ptCount val="33"/>
                <c:pt idx="0">
                  <c:v>0.3520729452738003</c:v>
                </c:pt>
                <c:pt idx="1">
                  <c:v>0.3604985246590564</c:v>
                </c:pt>
                <c:pt idx="2">
                  <c:v>0.36870778621670675</c:v>
                </c:pt>
                <c:pt idx="3">
                  <c:v>0.3767089549592071</c:v>
                </c:pt>
                <c:pt idx="4">
                  <c:v>0.38450984413368505</c:v>
                </c:pt>
                <c:pt idx="5">
                  <c:v>0.3921178806709694</c:v>
                </c:pt>
                <c:pt idx="6">
                  <c:v>0.3995401287702253</c:v>
                </c:pt>
                <c:pt idx="7">
                  <c:v>0.40678331177661553</c:v>
                </c:pt>
                <c:pt idx="8">
                  <c:v>0.4138538324944154</c:v>
                </c:pt>
                <c:pt idx="9">
                  <c:v>0.4207577920645634</c:v>
                </c:pt>
                <c:pt idx="10">
                  <c:v>0.4275010075236488</c:v>
                </c:pt>
                <c:pt idx="11">
                  <c:v>0.4340890281505346</c:v>
                </c:pt>
                <c:pt idx="12">
                  <c:v>0.4405271506971725</c:v>
                </c:pt>
                <c:pt idx="13">
                  <c:v>0.4468204335914672</c:v>
                </c:pt>
                <c:pt idx="14">
                  <c:v>0.45297371019222954</c:v>
                </c:pt>
                <c:pt idx="15">
                  <c:v>0.4589916011692128</c:v>
                </c:pt>
                <c:pt idx="16">
                  <c:v>0.46487852607487956</c:v>
                </c:pt>
                <c:pt idx="17">
                  <c:v>0.47063871416879915</c:v>
                </c:pt>
                <c:pt idx="18">
                  <c:v>0.47627621455038816</c:v>
                </c:pt>
                <c:pt idx="19">
                  <c:v>0.4817949056510165</c:v>
                </c:pt>
                <c:pt idx="20">
                  <c:v>0.48719850413223587</c:v>
                </c:pt>
                <c:pt idx="21">
                  <c:v>0.49249057323303863</c:v>
                </c:pt>
                <c:pt idx="22">
                  <c:v>0.49767453060553074</c:v>
                </c:pt>
                <c:pt idx="23">
                  <c:v>0.502753655675242</c:v>
                </c:pt>
                <c:pt idx="24">
                  <c:v>0.5077310965593737</c:v>
                </c:pt>
                <c:pt idx="25">
                  <c:v>0.5126098765736514</c:v>
                </c:pt>
                <c:pt idx="26">
                  <c:v>0.5173929003560495</c:v>
                </c:pt>
                <c:pt idx="27">
                  <c:v>0.5220829596334448</c:v>
                </c:pt>
                <c:pt idx="28">
                  <c:v>0.5266827386552593</c:v>
                </c:pt>
                <c:pt idx="29">
                  <c:v>0.531194819316315</c:v>
                </c:pt>
                <c:pt idx="30">
                  <c:v>0.5356216859894376</c:v>
                </c:pt>
                <c:pt idx="31">
                  <c:v>0.5399657300868235</c:v>
                </c:pt>
                <c:pt idx="32">
                  <c:v>0.544229254367761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B$2:$B$28</c:f>
              <c:numCache>
                <c:formatCode>General</c:formatCode>
                <c:ptCount val="27"/>
                <c:pt idx="0">
                  <c:v>137.83975788620748</c:v>
                </c:pt>
                <c:pt idx="1">
                  <c:v>134.24376328437324</c:v>
                </c:pt>
                <c:pt idx="2">
                  <c:v>130.86258268624437</c:v>
                </c:pt>
                <c:pt idx="3">
                  <c:v>127.67694386506999</c:v>
                </c:pt>
                <c:pt idx="4">
                  <c:v>123.56437966784664</c:v>
                </c:pt>
                <c:pt idx="5">
                  <c:v>119.66855621710408</c:v>
                </c:pt>
                <c:pt idx="6">
                  <c:v>114.7186525465347</c:v>
                </c:pt>
                <c:pt idx="7">
                  <c:v>110.31157276047104</c:v>
                </c:pt>
                <c:pt idx="8">
                  <c:v>106.36794165087866</c:v>
                </c:pt>
                <c:pt idx="9">
                  <c:v>102.82037620518642</c:v>
                </c:pt>
                <c:pt idx="10">
                  <c:v>101.39205926335171</c:v>
                </c:pt>
                <c:pt idx="11">
                  <c:v>100.0</c:v>
                </c:pt>
                <c:pt idx="12">
                  <c:v>98.64294376896007</c:v>
                </c:pt>
                <c:pt idx="13">
                  <c:v>97.31968065496147</c:v>
                </c:pt>
                <c:pt idx="14">
                  <c:v>95.96560540429597</c:v>
                </c:pt>
                <c:pt idx="15">
                  <c:v>94.66528142017464</c:v>
                </c:pt>
                <c:pt idx="16">
                  <c:v>93.41496593626906</c:v>
                </c:pt>
                <c:pt idx="17">
                  <c:v>92.2112477700867</c:v>
                </c:pt>
                <c:pt idx="18">
                  <c:v>91.05101415469996</c:v>
                </c:pt>
                <c:pt idx="19">
                  <c:v>88.30452209880121</c:v>
                </c:pt>
                <c:pt idx="20">
                  <c:v>85.7182677826833</c:v>
                </c:pt>
                <c:pt idx="21">
                  <c:v>83.28008566436488</c:v>
                </c:pt>
                <c:pt idx="22">
                  <c:v>80.97876689790014</c:v>
                </c:pt>
                <c:pt idx="23">
                  <c:v>79.03280975258961</c:v>
                </c:pt>
                <c:pt idx="24">
                  <c:v>77.2490995749877</c:v>
                </c:pt>
                <c:pt idx="25">
                  <c:v>75.60398677572314</c:v>
                </c:pt>
                <c:pt idx="26">
                  <c:v>74.078307678084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C$2:$C$28</c:f>
              <c:numCache>
                <c:formatCode>General</c:formatCode>
                <c:ptCount val="27"/>
                <c:pt idx="0">
                  <c:v>117.52677765955664</c:v>
                </c:pt>
                <c:pt idx="1">
                  <c:v>116.2575517071774</c:v>
                </c:pt>
                <c:pt idx="2">
                  <c:v>115.08124716641383</c:v>
                </c:pt>
                <c:pt idx="3">
                  <c:v>113.98923495320929</c:v>
                </c:pt>
                <c:pt idx="4">
                  <c:v>111.96977897511728</c:v>
                </c:pt>
                <c:pt idx="5">
                  <c:v>110.0402533019718</c:v>
                </c:pt>
                <c:pt idx="6">
                  <c:v>107.02687381713302</c:v>
                </c:pt>
                <c:pt idx="7">
                  <c:v>104.39491510834189</c:v>
                </c:pt>
                <c:pt idx="8">
                  <c:v>102.08989401038544</c:v>
                </c:pt>
                <c:pt idx="9">
                  <c:v>100.06477901354916</c:v>
                </c:pt>
                <c:pt idx="10">
                  <c:v>100.03340277366817</c:v>
                </c:pt>
                <c:pt idx="11">
                  <c:v>100.0</c:v>
                </c:pt>
                <c:pt idx="12">
                  <c:v>99.96475807411618</c:v>
                </c:pt>
                <c:pt idx="13">
                  <c:v>99.92784289490936</c:v>
                </c:pt>
                <c:pt idx="14">
                  <c:v>99.82200528379673</c:v>
                </c:pt>
                <c:pt idx="15">
                  <c:v>99.73661514880754</c:v>
                </c:pt>
                <c:pt idx="16">
                  <c:v>99.66982428014785</c:v>
                </c:pt>
                <c:pt idx="17">
                  <c:v>99.6199442213589</c:v>
                </c:pt>
                <c:pt idx="18">
                  <c:v>99.58543191393655</c:v>
                </c:pt>
                <c:pt idx="19">
                  <c:v>97.76672240478582</c:v>
                </c:pt>
                <c:pt idx="20">
                  <c:v>96.05408509870146</c:v>
                </c:pt>
                <c:pt idx="21">
                  <c:v>94.44013632905578</c:v>
                </c:pt>
                <c:pt idx="22">
                  <c:v>92.91794324203154</c:v>
                </c:pt>
                <c:pt idx="23">
                  <c:v>91.7478350979927</c:v>
                </c:pt>
                <c:pt idx="24">
                  <c:v>90.7157732182418</c:v>
                </c:pt>
                <c:pt idx="25">
                  <c:v>89.80024549110622</c:v>
                </c:pt>
                <c:pt idx="26">
                  <c:v>88.983848449783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D$2:$D$28</c:f>
              <c:numCache>
                <c:formatCode>General</c:formatCode>
                <c:ptCount val="27"/>
                <c:pt idx="0">
                  <c:v>85.29206475112242</c:v>
                </c:pt>
                <c:pt idx="1">
                  <c:v>87.71892307318676</c:v>
                </c:pt>
                <c:pt idx="2">
                  <c:v>90.0443610085695</c:v>
                </c:pt>
                <c:pt idx="3">
                  <c:v>92.2767919659471</c:v>
                </c:pt>
                <c:pt idx="4">
                  <c:v>93.58723110175137</c:v>
                </c:pt>
                <c:pt idx="5">
                  <c:v>94.7842504776517</c:v>
                </c:pt>
                <c:pt idx="6">
                  <c:v>94.83844914081007</c:v>
                </c:pt>
                <c:pt idx="7">
                  <c:v>95.01738780733109</c:v>
                </c:pt>
                <c:pt idx="8">
                  <c:v>95.30633091266118</c:v>
                </c:pt>
                <c:pt idx="9">
                  <c:v>95.69070983160111</c:v>
                </c:pt>
                <c:pt idx="10">
                  <c:v>97.8767473127338</c:v>
                </c:pt>
                <c:pt idx="11">
                  <c:v>100.0</c:v>
                </c:pt>
                <c:pt idx="12">
                  <c:v>102.06294102847586</c:v>
                </c:pt>
                <c:pt idx="13">
                  <c:v>104.06791736168988</c:v>
                </c:pt>
                <c:pt idx="14">
                  <c:v>105.94697256790782</c:v>
                </c:pt>
                <c:pt idx="15">
                  <c:v>107.79334779903729</c:v>
                </c:pt>
                <c:pt idx="16">
                  <c:v>109.60824180753397</c:v>
                </c:pt>
                <c:pt idx="17">
                  <c:v>111.3927348530245</c:v>
                </c:pt>
                <c:pt idx="18">
                  <c:v>113.14780497332349</c:v>
                </c:pt>
                <c:pt idx="19">
                  <c:v>112.79634729069001</c:v>
                </c:pt>
                <c:pt idx="20">
                  <c:v>112.46466788419065</c:v>
                </c:pt>
                <c:pt idx="21">
                  <c:v>112.15305342216331</c:v>
                </c:pt>
                <c:pt idx="22">
                  <c:v>111.86142456851809</c:v>
                </c:pt>
                <c:pt idx="23">
                  <c:v>111.9111097135119</c:v>
                </c:pt>
                <c:pt idx="24">
                  <c:v>112.06155254086438</c:v>
                </c:pt>
                <c:pt idx="25">
                  <c:v>112.29443864059503</c:v>
                </c:pt>
                <c:pt idx="26">
                  <c:v>112.5950066817139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6.29</c:v>
                </c:pt>
                <c:pt idx="1">
                  <c:v>6.39</c:v>
                </c:pt>
                <c:pt idx="2">
                  <c:v>6.49</c:v>
                </c:pt>
                <c:pt idx="3">
                  <c:v>6.59</c:v>
                </c:pt>
                <c:pt idx="4">
                  <c:v>6.69</c:v>
                </c:pt>
                <c:pt idx="5">
                  <c:v>6.79</c:v>
                </c:pt>
                <c:pt idx="6">
                  <c:v>6.89</c:v>
                </c:pt>
                <c:pt idx="7">
                  <c:v>6.99</c:v>
                </c:pt>
                <c:pt idx="8">
                  <c:v>7.09</c:v>
                </c:pt>
                <c:pt idx="9">
                  <c:v>7.19</c:v>
                </c:pt>
                <c:pt idx="10">
                  <c:v>7.29</c:v>
                </c:pt>
                <c:pt idx="11">
                  <c:v>7.39</c:v>
                </c:pt>
                <c:pt idx="12">
                  <c:v>7.49</c:v>
                </c:pt>
                <c:pt idx="13">
                  <c:v>7.59</c:v>
                </c:pt>
                <c:pt idx="14">
                  <c:v>7.69</c:v>
                </c:pt>
                <c:pt idx="15">
                  <c:v>7.79</c:v>
                </c:pt>
                <c:pt idx="16">
                  <c:v>7.89</c:v>
                </c:pt>
                <c:pt idx="17">
                  <c:v>7.99</c:v>
                </c:pt>
                <c:pt idx="18">
                  <c:v>8.09</c:v>
                </c:pt>
                <c:pt idx="19">
                  <c:v>8.19</c:v>
                </c:pt>
                <c:pt idx="20">
                  <c:v>8.29</c:v>
                </c:pt>
                <c:pt idx="21">
                  <c:v>8.39</c:v>
                </c:pt>
                <c:pt idx="22">
                  <c:v>8.49</c:v>
                </c:pt>
                <c:pt idx="23">
                  <c:v>8.59</c:v>
                </c:pt>
                <c:pt idx="24">
                  <c:v>8.69</c:v>
                </c:pt>
                <c:pt idx="25">
                  <c:v>8.79</c:v>
                </c:pt>
                <c:pt idx="26">
                  <c:v>8.89</c:v>
                </c:pt>
              </c:strCache>
            </c:strRef>
          </c:cat>
          <c:val>
            <c:numRef>
              <c:f>Sheet1!$E$2:$E$28</c:f>
              <c:numCache>
                <c:formatCode>General</c:formatCode>
                <c:ptCount val="27"/>
                <c:pt idx="0">
                  <c:v>0.2836662992157884</c:v>
                </c:pt>
                <c:pt idx="1">
                  <c:v>0.29487652927500935</c:v>
                </c:pt>
                <c:pt idx="2">
                  <c:v>0.3057412976991232</c:v>
                </c:pt>
                <c:pt idx="3">
                  <c:v>0.3162763311179532</c:v>
                </c:pt>
                <c:pt idx="4">
                  <c:v>0.3264964158546056</c:v>
                </c:pt>
                <c:pt idx="5">
                  <c:v>0.3364154671674977</c:v>
                </c:pt>
                <c:pt idx="6">
                  <c:v>0.34604659246259933</c:v>
                </c:pt>
                <c:pt idx="7">
                  <c:v>0.3554021490797298</c:v>
                </c:pt>
                <c:pt idx="8">
                  <c:v>0.36449379718861935</c:v>
                </c:pt>
                <c:pt idx="9">
                  <c:v>0.37333254827083584</c:v>
                </c:pt>
                <c:pt idx="10">
                  <c:v>0.38192880961142817</c:v>
                </c:pt>
                <c:pt idx="11">
                  <c:v>0.3902924251782558</c:v>
                </c:pt>
                <c:pt idx="12">
                  <c:v>0.3984327132266103</c:v>
                </c:pt>
                <c:pt idx="13">
                  <c:v>0.4063585009311344</c:v>
                </c:pt>
                <c:pt idx="14">
                  <c:v>0.4140781563156449</c:v>
                </c:pt>
                <c:pt idx="15">
                  <c:v>0.42159961772366006</c:v>
                </c:pt>
                <c:pt idx="16">
                  <c:v>0.4289304210478213</c:v>
                </c:pt>
                <c:pt idx="17">
                  <c:v>0.43607772491455715</c:v>
                </c:pt>
                <c:pt idx="18">
                  <c:v>0.4430483340009037</c:v>
                </c:pt>
                <c:pt idx="19">
                  <c:v>0.4498487206431393</c:v>
                </c:pt>
                <c:pt idx="20">
                  <c:v>0.45648504488146074</c:v>
                </c:pt>
                <c:pt idx="21">
                  <c:v>0.4629631730711932</c:v>
                </c:pt>
                <c:pt idx="22">
                  <c:v>0.4692886951787173</c:v>
                </c:pt>
                <c:pt idx="23">
                  <c:v>0.47546694086930263</c:v>
                </c:pt>
                <c:pt idx="24">
                  <c:v>0.48150299448415534</c:v>
                </c:pt>
                <c:pt idx="25">
                  <c:v>0.4874017089951433</c:v>
                </c:pt>
                <c:pt idx="26">
                  <c:v>0.493167719017695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7.09</c:v>
                </c:pt>
                <c:pt idx="1">
                  <c:v>7.19</c:v>
                </c:pt>
                <c:pt idx="2">
                  <c:v>7.29</c:v>
                </c:pt>
                <c:pt idx="3">
                  <c:v>7.39</c:v>
                </c:pt>
                <c:pt idx="4">
                  <c:v>7.49</c:v>
                </c:pt>
                <c:pt idx="5">
                  <c:v>7.59</c:v>
                </c:pt>
                <c:pt idx="6">
                  <c:v>7.69</c:v>
                </c:pt>
                <c:pt idx="7">
                  <c:v>7.79</c:v>
                </c:pt>
                <c:pt idx="8">
                  <c:v>7.89</c:v>
                </c:pt>
                <c:pt idx="9">
                  <c:v>7.99</c:v>
                </c:pt>
                <c:pt idx="10">
                  <c:v>8.09</c:v>
                </c:pt>
                <c:pt idx="11">
                  <c:v>8.19</c:v>
                </c:pt>
                <c:pt idx="12">
                  <c:v>8.29</c:v>
                </c:pt>
                <c:pt idx="13">
                  <c:v>8.39</c:v>
                </c:pt>
                <c:pt idx="14">
                  <c:v>8.49</c:v>
                </c:pt>
                <c:pt idx="15">
                  <c:v>8.59</c:v>
                </c:pt>
                <c:pt idx="16">
                  <c:v>8.69</c:v>
                </c:pt>
                <c:pt idx="17">
                  <c:v>8.79</c:v>
                </c:pt>
                <c:pt idx="18">
                  <c:v>8.89</c:v>
                </c:pt>
                <c:pt idx="19">
                  <c:v>8.99</c:v>
                </c:pt>
                <c:pt idx="20">
                  <c:v>9.09</c:v>
                </c:pt>
                <c:pt idx="21">
                  <c:v>9.19</c:v>
                </c:pt>
                <c:pt idx="22">
                  <c:v>9.29</c:v>
                </c:pt>
                <c:pt idx="23">
                  <c:v>9.39</c:v>
                </c:pt>
                <c:pt idx="24">
                  <c:v>9.49</c:v>
                </c:pt>
                <c:pt idx="25">
                  <c:v>9.59</c:v>
                </c:pt>
                <c:pt idx="26">
                  <c:v>9.69</c:v>
                </c:pt>
                <c:pt idx="27">
                  <c:v>9.79</c:v>
                </c:pt>
                <c:pt idx="28">
                  <c:v>9.89</c:v>
                </c:pt>
                <c:pt idx="29">
                  <c:v>9.99</c:v>
                </c:pt>
                <c:pt idx="30">
                  <c:v>10.09</c:v>
                </c:pt>
              </c:strCache>
            </c:strRef>
          </c:cat>
          <c:val>
            <c:numRef>
              <c:f>Sheet1!$B$2:$B$32</c:f>
              <c:numCache>
                <c:formatCode>General</c:formatCode>
                <c:ptCount val="31"/>
                <c:pt idx="0">
                  <c:v>124.91373003787916</c:v>
                </c:pt>
                <c:pt idx="1">
                  <c:v>122.10208137977597</c:v>
                </c:pt>
                <c:pt idx="2">
                  <c:v>120.72079838786611</c:v>
                </c:pt>
                <c:pt idx="3">
                  <c:v>119.36537754036543</c:v>
                </c:pt>
                <c:pt idx="4">
                  <c:v>118.0352076919211</c:v>
                </c:pt>
                <c:pt idx="5">
                  <c:v>116.7296903087198</c:v>
                </c:pt>
                <c:pt idx="6">
                  <c:v>114.60045702170925</c:v>
                </c:pt>
                <c:pt idx="7">
                  <c:v>112.55401669542755</c:v>
                </c:pt>
                <c:pt idx="8">
                  <c:v>110.58752724357647</c:v>
                </c:pt>
                <c:pt idx="9">
                  <c:v>108.69745004519602</c:v>
                </c:pt>
                <c:pt idx="10">
                  <c:v>106.87974757067865</c:v>
                </c:pt>
                <c:pt idx="11">
                  <c:v>104.47073505378137</c:v>
                </c:pt>
                <c:pt idx="12">
                  <c:v>102.17999168157665</c:v>
                </c:pt>
                <c:pt idx="13">
                  <c:v>100.0</c:v>
                </c:pt>
                <c:pt idx="14">
                  <c:v>97.92359216931146</c:v>
                </c:pt>
                <c:pt idx="15">
                  <c:v>96.58329145609397</c:v>
                </c:pt>
                <c:pt idx="16">
                  <c:v>95.32424538205218</c:v>
                </c:pt>
                <c:pt idx="17">
                  <c:v>94.13714600599509</c:v>
                </c:pt>
                <c:pt idx="18">
                  <c:v>93.01415772742362</c:v>
                </c:pt>
                <c:pt idx="19">
                  <c:v>91.94863581572135</c:v>
                </c:pt>
                <c:pt idx="20">
                  <c:v>91.19204162163855</c:v>
                </c:pt>
                <c:pt idx="21">
                  <c:v>90.44626865667757</c:v>
                </c:pt>
                <c:pt idx="22">
                  <c:v>89.7110613035817</c:v>
                </c:pt>
                <c:pt idx="23">
                  <c:v>88.98617213919555</c:v>
                </c:pt>
                <c:pt idx="24">
                  <c:v>88.27136162556623</c:v>
                </c:pt>
                <c:pt idx="25">
                  <c:v>87.56639781387466</c:v>
                </c:pt>
                <c:pt idx="26">
                  <c:v>85.53302298127291</c:v>
                </c:pt>
                <c:pt idx="27">
                  <c:v>83.56990851534378</c:v>
                </c:pt>
                <c:pt idx="28">
                  <c:v>81.67529182558265</c:v>
                </c:pt>
                <c:pt idx="29">
                  <c:v>79.84727424621451</c:v>
                </c:pt>
                <c:pt idx="30">
                  <c:v>78.9964706493032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7.09</c:v>
                </c:pt>
                <c:pt idx="1">
                  <c:v>7.19</c:v>
                </c:pt>
                <c:pt idx="2">
                  <c:v>7.29</c:v>
                </c:pt>
                <c:pt idx="3">
                  <c:v>7.39</c:v>
                </c:pt>
                <c:pt idx="4">
                  <c:v>7.49</c:v>
                </c:pt>
                <c:pt idx="5">
                  <c:v>7.59</c:v>
                </c:pt>
                <c:pt idx="6">
                  <c:v>7.69</c:v>
                </c:pt>
                <c:pt idx="7">
                  <c:v>7.79</c:v>
                </c:pt>
                <c:pt idx="8">
                  <c:v>7.89</c:v>
                </c:pt>
                <c:pt idx="9">
                  <c:v>7.99</c:v>
                </c:pt>
                <c:pt idx="10">
                  <c:v>8.09</c:v>
                </c:pt>
                <c:pt idx="11">
                  <c:v>8.19</c:v>
                </c:pt>
                <c:pt idx="12">
                  <c:v>8.29</c:v>
                </c:pt>
                <c:pt idx="13">
                  <c:v>8.39</c:v>
                </c:pt>
                <c:pt idx="14">
                  <c:v>8.49</c:v>
                </c:pt>
                <c:pt idx="15">
                  <c:v>8.59</c:v>
                </c:pt>
                <c:pt idx="16">
                  <c:v>8.69</c:v>
                </c:pt>
                <c:pt idx="17">
                  <c:v>8.79</c:v>
                </c:pt>
                <c:pt idx="18">
                  <c:v>8.89</c:v>
                </c:pt>
                <c:pt idx="19">
                  <c:v>8.99</c:v>
                </c:pt>
                <c:pt idx="20">
                  <c:v>9.09</c:v>
                </c:pt>
                <c:pt idx="21">
                  <c:v>9.19</c:v>
                </c:pt>
                <c:pt idx="22">
                  <c:v>9.29</c:v>
                </c:pt>
                <c:pt idx="23">
                  <c:v>9.39</c:v>
                </c:pt>
                <c:pt idx="24">
                  <c:v>9.49</c:v>
                </c:pt>
                <c:pt idx="25">
                  <c:v>9.59</c:v>
                </c:pt>
                <c:pt idx="26">
                  <c:v>9.69</c:v>
                </c:pt>
                <c:pt idx="27">
                  <c:v>9.79</c:v>
                </c:pt>
                <c:pt idx="28">
                  <c:v>9.89</c:v>
                </c:pt>
                <c:pt idx="29">
                  <c:v>9.99</c:v>
                </c:pt>
                <c:pt idx="30">
                  <c:v>10.09</c:v>
                </c:pt>
              </c:strCache>
            </c:strRef>
          </c:cat>
          <c:val>
            <c:numRef>
              <c:f>Sheet1!$C$2:$C$32</c:f>
              <c:numCache>
                <c:formatCode>General</c:formatCode>
                <c:ptCount val="31"/>
                <c:pt idx="0">
                  <c:v>105.99255039675613</c:v>
                </c:pt>
                <c:pt idx="1">
                  <c:v>105.03346558621493</c:v>
                </c:pt>
                <c:pt idx="2">
                  <c:v>105.25293801589402</c:v>
                </c:pt>
                <c:pt idx="3">
                  <c:v>105.46286169793729</c:v>
                </c:pt>
                <c:pt idx="4">
                  <c:v>105.66361059646319</c:v>
                </c:pt>
                <c:pt idx="5">
                  <c:v>105.85554044845698</c:v>
                </c:pt>
                <c:pt idx="6">
                  <c:v>105.25535769009669</c:v>
                </c:pt>
                <c:pt idx="7">
                  <c:v>104.68325136651808</c:v>
                </c:pt>
                <c:pt idx="8">
                  <c:v>104.13937933272337</c:v>
                </c:pt>
                <c:pt idx="9">
                  <c:v>103.62310266207521</c:v>
                </c:pt>
                <c:pt idx="10">
                  <c:v>103.13313760796615</c:v>
                </c:pt>
                <c:pt idx="11">
                  <c:v>102.02893439371907</c:v>
                </c:pt>
                <c:pt idx="12">
                  <c:v>100.98569620312506</c:v>
                </c:pt>
                <c:pt idx="13">
                  <c:v>100.0</c:v>
                </c:pt>
                <c:pt idx="14">
                  <c:v>99.06843154616745</c:v>
                </c:pt>
                <c:pt idx="15">
                  <c:v>98.84275144568645</c:v>
                </c:pt>
                <c:pt idx="16">
                  <c:v>98.6695648882027</c:v>
                </c:pt>
                <c:pt idx="17">
                  <c:v>98.54200081849723</c:v>
                </c:pt>
                <c:pt idx="18">
                  <c:v>98.45430744415363</c:v>
                </c:pt>
                <c:pt idx="19">
                  <c:v>98.40163792139174</c:v>
                </c:pt>
                <c:pt idx="20">
                  <c:v>98.65556019372673</c:v>
                </c:pt>
                <c:pt idx="21">
                  <c:v>98.90355343993103</c:v>
                </c:pt>
                <c:pt idx="22">
                  <c:v>99.14572057949768</c:v>
                </c:pt>
                <c:pt idx="23">
                  <c:v>99.38216146028076</c:v>
                </c:pt>
                <c:pt idx="24">
                  <c:v>99.61297300222496</c:v>
                </c:pt>
                <c:pt idx="25">
                  <c:v>99.83824933325653</c:v>
                </c:pt>
                <c:pt idx="26">
                  <c:v>98.52236320897785</c:v>
                </c:pt>
                <c:pt idx="27">
                  <c:v>97.24097925356868</c:v>
                </c:pt>
                <c:pt idx="28">
                  <c:v>95.9944477537003</c:v>
                </c:pt>
                <c:pt idx="29">
                  <c:v>94.7828791131877</c:v>
                </c:pt>
                <c:pt idx="30">
                  <c:v>94.6963830642742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7.09</c:v>
                </c:pt>
                <c:pt idx="1">
                  <c:v>7.19</c:v>
                </c:pt>
                <c:pt idx="2">
                  <c:v>7.29</c:v>
                </c:pt>
                <c:pt idx="3">
                  <c:v>7.39</c:v>
                </c:pt>
                <c:pt idx="4">
                  <c:v>7.49</c:v>
                </c:pt>
                <c:pt idx="5">
                  <c:v>7.59</c:v>
                </c:pt>
                <c:pt idx="6">
                  <c:v>7.69</c:v>
                </c:pt>
                <c:pt idx="7">
                  <c:v>7.79</c:v>
                </c:pt>
                <c:pt idx="8">
                  <c:v>7.89</c:v>
                </c:pt>
                <c:pt idx="9">
                  <c:v>7.99</c:v>
                </c:pt>
                <c:pt idx="10">
                  <c:v>8.09</c:v>
                </c:pt>
                <c:pt idx="11">
                  <c:v>8.19</c:v>
                </c:pt>
                <c:pt idx="12">
                  <c:v>8.29</c:v>
                </c:pt>
                <c:pt idx="13">
                  <c:v>8.39</c:v>
                </c:pt>
                <c:pt idx="14">
                  <c:v>8.49</c:v>
                </c:pt>
                <c:pt idx="15">
                  <c:v>8.59</c:v>
                </c:pt>
                <c:pt idx="16">
                  <c:v>8.69</c:v>
                </c:pt>
                <c:pt idx="17">
                  <c:v>8.79</c:v>
                </c:pt>
                <c:pt idx="18">
                  <c:v>8.89</c:v>
                </c:pt>
                <c:pt idx="19">
                  <c:v>8.99</c:v>
                </c:pt>
                <c:pt idx="20">
                  <c:v>9.09</c:v>
                </c:pt>
                <c:pt idx="21">
                  <c:v>9.19</c:v>
                </c:pt>
                <c:pt idx="22">
                  <c:v>9.29</c:v>
                </c:pt>
                <c:pt idx="23">
                  <c:v>9.39</c:v>
                </c:pt>
                <c:pt idx="24">
                  <c:v>9.49</c:v>
                </c:pt>
                <c:pt idx="25">
                  <c:v>9.59</c:v>
                </c:pt>
                <c:pt idx="26">
                  <c:v>9.69</c:v>
                </c:pt>
                <c:pt idx="27">
                  <c:v>9.79</c:v>
                </c:pt>
                <c:pt idx="28">
                  <c:v>9.89</c:v>
                </c:pt>
                <c:pt idx="29">
                  <c:v>9.99</c:v>
                </c:pt>
                <c:pt idx="30">
                  <c:v>10.09</c:v>
                </c:pt>
              </c:strCache>
            </c:strRef>
          </c:cat>
          <c:val>
            <c:numRef>
              <c:f>Sheet1!$D$2:$D$32</c:f>
              <c:numCache>
                <c:formatCode>General</c:formatCode>
                <c:ptCount val="31"/>
                <c:pt idx="0">
                  <c:v>75.8991573770656</c:v>
                </c:pt>
                <c:pt idx="1">
                  <c:v>77.87315765438717</c:v>
                </c:pt>
                <c:pt idx="2">
                  <c:v>80.63461450878499</c:v>
                </c:pt>
                <c:pt idx="3">
                  <c:v>83.33087905389583</c:v>
                </c:pt>
                <c:pt idx="4">
                  <c:v>85.96384184997736</c:v>
                </c:pt>
                <c:pt idx="5">
                  <c:v>88.53532948611017</c:v>
                </c:pt>
                <c:pt idx="6">
                  <c:v>90.37961029123818</c:v>
                </c:pt>
                <c:pt idx="7">
                  <c:v>92.16328825942604</c:v>
                </c:pt>
                <c:pt idx="8">
                  <c:v>93.89143056126835</c:v>
                </c:pt>
                <c:pt idx="9">
                  <c:v>95.56815117562451</c:v>
                </c:pt>
                <c:pt idx="10">
                  <c:v>97.1966855182361</c:v>
                </c:pt>
                <c:pt idx="11">
                  <c:v>98.16076258289333</c:v>
                </c:pt>
                <c:pt idx="12">
                  <c:v>99.09413951400474</c:v>
                </c:pt>
                <c:pt idx="13">
                  <c:v>100.0</c:v>
                </c:pt>
                <c:pt idx="14">
                  <c:v>100.88098157278367</c:v>
                </c:pt>
                <c:pt idx="15">
                  <c:v>102.4131513486368</c:v>
                </c:pt>
                <c:pt idx="16">
                  <c:v>103.95320744029564</c:v>
                </c:pt>
                <c:pt idx="17">
                  <c:v>105.49805109631627</c:v>
                </c:pt>
                <c:pt idx="18">
                  <c:v>107.04515886656868</c:v>
                </c:pt>
                <c:pt idx="19">
                  <c:v>108.59247137623194</c:v>
                </c:pt>
                <c:pt idx="20">
                  <c:v>110.45102384208138</c:v>
                </c:pt>
                <c:pt idx="21">
                  <c:v>112.27738938659024</c:v>
                </c:pt>
                <c:pt idx="22">
                  <c:v>114.07222131876887</c:v>
                </c:pt>
                <c:pt idx="23">
                  <c:v>115.83615277571069</c:v>
                </c:pt>
                <c:pt idx="24">
                  <c:v>117.56979754894353</c:v>
                </c:pt>
                <c:pt idx="25">
                  <c:v>119.27375087212401</c:v>
                </c:pt>
                <c:pt idx="26">
                  <c:v>119.09077546311408</c:v>
                </c:pt>
                <c:pt idx="27">
                  <c:v>118.8847910241162</c:v>
                </c:pt>
                <c:pt idx="28">
                  <c:v>118.659600191076</c:v>
                </c:pt>
                <c:pt idx="29">
                  <c:v>118.4185931382151</c:v>
                </c:pt>
                <c:pt idx="30">
                  <c:v>119.541417200795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7.09</c:v>
                </c:pt>
                <c:pt idx="1">
                  <c:v>7.19</c:v>
                </c:pt>
                <c:pt idx="2">
                  <c:v>7.29</c:v>
                </c:pt>
                <c:pt idx="3">
                  <c:v>7.39</c:v>
                </c:pt>
                <c:pt idx="4">
                  <c:v>7.49</c:v>
                </c:pt>
                <c:pt idx="5">
                  <c:v>7.59</c:v>
                </c:pt>
                <c:pt idx="6">
                  <c:v>7.69</c:v>
                </c:pt>
                <c:pt idx="7">
                  <c:v>7.79</c:v>
                </c:pt>
                <c:pt idx="8">
                  <c:v>7.89</c:v>
                </c:pt>
                <c:pt idx="9">
                  <c:v>7.99</c:v>
                </c:pt>
                <c:pt idx="10">
                  <c:v>8.09</c:v>
                </c:pt>
                <c:pt idx="11">
                  <c:v>8.19</c:v>
                </c:pt>
                <c:pt idx="12">
                  <c:v>8.29</c:v>
                </c:pt>
                <c:pt idx="13">
                  <c:v>8.39</c:v>
                </c:pt>
                <c:pt idx="14">
                  <c:v>8.49</c:v>
                </c:pt>
                <c:pt idx="15">
                  <c:v>8.59</c:v>
                </c:pt>
                <c:pt idx="16">
                  <c:v>8.69</c:v>
                </c:pt>
                <c:pt idx="17">
                  <c:v>8.79</c:v>
                </c:pt>
                <c:pt idx="18">
                  <c:v>8.89</c:v>
                </c:pt>
                <c:pt idx="19">
                  <c:v>8.99</c:v>
                </c:pt>
                <c:pt idx="20">
                  <c:v>9.09</c:v>
                </c:pt>
                <c:pt idx="21">
                  <c:v>9.19</c:v>
                </c:pt>
                <c:pt idx="22">
                  <c:v>9.29</c:v>
                </c:pt>
                <c:pt idx="23">
                  <c:v>9.39</c:v>
                </c:pt>
                <c:pt idx="24">
                  <c:v>9.49</c:v>
                </c:pt>
                <c:pt idx="25">
                  <c:v>9.59</c:v>
                </c:pt>
                <c:pt idx="26">
                  <c:v>9.69</c:v>
                </c:pt>
                <c:pt idx="27">
                  <c:v>9.79</c:v>
                </c:pt>
                <c:pt idx="28">
                  <c:v>9.89</c:v>
                </c:pt>
                <c:pt idx="29">
                  <c:v>9.99</c:v>
                </c:pt>
                <c:pt idx="30">
                  <c:v>10.09</c:v>
                </c:pt>
              </c:strCache>
            </c:strRef>
          </c:cat>
          <c:val>
            <c:numRef>
              <c:f>Sheet1!$E$2:$E$32</c:f>
              <c:numCache>
                <c:formatCode>General</c:formatCode>
                <c:ptCount val="31"/>
                <c:pt idx="0">
                  <c:v>0.28413957045492433</c:v>
                </c:pt>
                <c:pt idx="1">
                  <c:v>0.2940959046627833</c:v>
                </c:pt>
                <c:pt idx="2">
                  <c:v>0.3037790884122651</c:v>
                </c:pt>
                <c:pt idx="3">
                  <c:v>0.31320021035526546</c:v>
                </c:pt>
                <c:pt idx="4">
                  <c:v>0.322369766959334</c:v>
                </c:pt>
                <c:pt idx="5">
                  <c:v>0.3312977015184996</c:v>
                </c:pt>
                <c:pt idx="6">
                  <c:v>0.33999344012033966</c:v>
                </c:pt>
                <c:pt idx="7">
                  <c:v>0.3484659248427999</c:v>
                </c:pt>
                <c:pt idx="8">
                  <c:v>0.3567236444265417</c:v>
                </c:pt>
                <c:pt idx="9">
                  <c:v>0.36477466264398145</c:v>
                </c:pt>
                <c:pt idx="10">
                  <c:v>0.3726266445643278</c:v>
                </c:pt>
                <c:pt idx="11">
                  <c:v>0.3802868808944337</c:v>
                </c:pt>
                <c:pt idx="12">
                  <c:v>0.3877623105579508</c:v>
                </c:pt>
                <c:pt idx="13">
                  <c:v>0.3950595416597631</c:v>
                </c:pt>
                <c:pt idx="14">
                  <c:v>0.4021848709688354</c:v>
                </c:pt>
                <c:pt idx="15">
                  <c:v>0.4091443020402109</c:v>
                </c:pt>
                <c:pt idx="16">
                  <c:v>0.4159435620857783</c:v>
                </c:pt>
                <c:pt idx="17">
                  <c:v>0.42258811769344856</c:v>
                </c:pt>
                <c:pt idx="18">
                  <c:v>0.42908318948542346</c:v>
                </c:pt>
                <c:pt idx="19">
                  <c:v>0.4354337657981548</c:v>
                </c:pt>
                <c:pt idx="20">
                  <c:v>0.44164461545934136</c:v>
                </c:pt>
                <c:pt idx="21">
                  <c:v>0.4477202997307304</c:v>
                </c:pt>
                <c:pt idx="22">
                  <c:v>0.45366518347959234</c:v>
                </c:pt>
                <c:pt idx="23">
                  <c:v>0.4594834456363594</c:v>
                </c:pt>
                <c:pt idx="24">
                  <c:v>0.46517908899108645</c:v>
                </c:pt>
                <c:pt idx="25">
                  <c:v>0.47075594937699816</c:v>
                </c:pt>
                <c:pt idx="26">
                  <c:v>0.4762177042853883</c:v>
                </c:pt>
                <c:pt idx="27">
                  <c:v>0.48156788095254477</c:v>
                </c:pt>
                <c:pt idx="28">
                  <c:v>0.4868098639560578</c:v>
                </c:pt>
                <c:pt idx="29">
                  <c:v>0.4919469023548961</c:v>
                </c:pt>
                <c:pt idx="30">
                  <c:v>0.496982116404897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tella (16.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Jan Niezbedny (20.2%)</c:v>
                </c:pt>
                <c:pt idx="2">
                  <c:v>Carrefour (16.6%)</c:v>
                </c:pt>
                <c:pt idx="3">
                  <c:v>Anna Zaradna (3.2%)</c:v>
                </c:pt>
                <c:pt idx="4">
                  <c:v>Vi Go! (2.2%)</c:v>
                </c:pt>
                <c:pt idx="5">
                  <c:v>Paclan (2.9%)</c:v>
                </c:pt>
                <c:pt idx="6">
                  <c:v>Ravi (1.1%)</c:v>
                </c:pt>
                <c:pt idx="7">
                  <c:v>Grosik (1.1%)</c:v>
                </c:pt>
              </c:strCache>
            </c:strRef>
          </c:cat>
          <c:val>
            <c:numRef>
              <c:f>Sheet1!$B$2:$B$9</c:f>
              <c:numCache>
                <c:formatCode>General</c:formatCode>
                <c:ptCount val="8"/>
                <c:pt idx="0">
                  <c:v>0.35703256489544416</c:v>
                </c:pt>
                <c:pt idx="1">
                  <c:v>0.28148888832885427</c:v>
                </c:pt>
                <c:pt idx="2">
                  <c:v>0.20161763550859216</c:v>
                </c:pt>
                <c:pt idx="3">
                  <c:v>0.05274185254878915</c:v>
                </c:pt>
                <c:pt idx="4">
                  <c:v>0.0374715814169835</c:v>
                </c:pt>
                <c:pt idx="5">
                  <c:v>0.034910143376978585</c:v>
                </c:pt>
                <c:pt idx="6">
                  <c:v>0.01942535329092041</c:v>
                </c:pt>
                <c:pt idx="7">
                  <c:v>0.015311980633431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tella (16.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Jan Niezbedny (20.2%)</c:v>
                </c:pt>
                <c:pt idx="2">
                  <c:v>Carrefour (16.6%)</c:v>
                </c:pt>
                <c:pt idx="3">
                  <c:v>Anna Zaradna (3.2%)</c:v>
                </c:pt>
                <c:pt idx="4">
                  <c:v>Paclan (2.9%)</c:v>
                </c:pt>
                <c:pt idx="5">
                  <c:v>Vi Go! (2.2%)</c:v>
                </c:pt>
                <c:pt idx="6">
                  <c:v>Ravi (1.1%)</c:v>
                </c:pt>
                <c:pt idx="7">
                  <c:v>Grosik (1.1%)</c:v>
                </c:pt>
              </c:strCache>
            </c:strRef>
          </c:cat>
          <c:val>
            <c:numRef>
              <c:f>Sheet1!$B$2:$B$9</c:f>
              <c:numCache>
                <c:formatCode>General</c:formatCode>
                <c:ptCount val="8"/>
                <c:pt idx="0">
                  <c:v>0.3672870116883257</c:v>
                </c:pt>
                <c:pt idx="1">
                  <c:v>0.25576173784967793</c:v>
                </c:pt>
                <c:pt idx="2">
                  <c:v>0.219985375746963</c:v>
                </c:pt>
                <c:pt idx="3">
                  <c:v>0.04508189934534525</c:v>
                </c:pt>
                <c:pt idx="4">
                  <c:v>0.03809665008829497</c:v>
                </c:pt>
                <c:pt idx="5">
                  <c:v>0.03532041218565461</c:v>
                </c:pt>
                <c:pt idx="6">
                  <c:v>0.020890653081175593</c:v>
                </c:pt>
                <c:pt idx="7">
                  <c:v>0.01757626001456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Anna Zarad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Jan Niezbed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rosi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Pacla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Ravi</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Vi G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7</c:f>
              <c:numCache>
                <c:formatCode>General</c:formatCode>
                <c:ptCount val="6"/>
                <c:pt idx="0">
                  <c:v>-1.2918051269318536</c:v>
                </c:pt>
                <c:pt idx="1">
                  <c:v>-0.7531711584547973</c:v>
                </c:pt>
                <c:pt idx="2">
                  <c:v>-0.7491644163865679</c:v>
                </c:pt>
                <c:pt idx="3">
                  <c:v>-0.6555547377313931</c:v>
                </c:pt>
                <c:pt idx="4">
                  <c:v>-1.0186329953285778</c:v>
                </c:pt>
                <c:pt idx="5">
                  <c:v>-1.5318019756552184</c:v>
                </c:pt>
              </c:numCache>
            </c:numRef>
          </c:xVal>
          <c:yVal>
            <c:numRef>
              <c:f>Sheet1!$B$2:$B$7</c:f>
              <c:numCache>
                <c:formatCode>General</c:formatCode>
                <c:ptCount val="6"/>
                <c:pt idx="0">
                  <c:v>-1.3279668069930017</c:v>
                </c:pt>
                <c:pt idx="1">
                  <c:v>-0.6651201377099284</c:v>
                </c:pt>
                <c:pt idx="2">
                  <c:v>-1.2557520003608706</c:v>
                </c:pt>
                <c:pt idx="3">
                  <c:v>-0.9236667887323331</c:v>
                </c:pt>
                <c:pt idx="4">
                  <c:v>-1.259511110748961</c:v>
                </c:pt>
                <c:pt idx="5">
                  <c:v>-1.105190786187297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i Go!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ella (16.1%)</c:v>
                </c:pt>
                <c:pt idx="1">
                  <c:v>Jan Niezbedny (20.2%)</c:v>
                </c:pt>
                <c:pt idx="2">
                  <c:v>Carrefour (16.6%)</c:v>
                </c:pt>
                <c:pt idx="3">
                  <c:v>Zosia Samosia (36.5%)</c:v>
                </c:pt>
                <c:pt idx="4">
                  <c:v>Anna Zaradna (3.2%)</c:v>
                </c:pt>
                <c:pt idx="5">
                  <c:v>Paclan (2.9%)</c:v>
                </c:pt>
                <c:pt idx="6">
                  <c:v>Ravi (1.1%)</c:v>
                </c:pt>
                <c:pt idx="7">
                  <c:v>Grosik (1.1%)</c:v>
                </c:pt>
              </c:strCache>
            </c:strRef>
          </c:cat>
          <c:val>
            <c:numRef>
              <c:f>Sheet1!$B$2:$B$9</c:f>
              <c:numCache>
                <c:formatCode>General</c:formatCode>
                <c:ptCount val="8"/>
                <c:pt idx="0">
                  <c:v>0.25632730645803103</c:v>
                </c:pt>
                <c:pt idx="1">
                  <c:v>0.24425730670253962</c:v>
                </c:pt>
                <c:pt idx="2">
                  <c:v>0.20639229213653093</c:v>
                </c:pt>
                <c:pt idx="3">
                  <c:v>0.17786793295472642</c:v>
                </c:pt>
                <c:pt idx="4">
                  <c:v>0.05690717069196048</c:v>
                </c:pt>
                <c:pt idx="5">
                  <c:v>0.02524252911351392</c:v>
                </c:pt>
                <c:pt idx="6">
                  <c:v>0.019070544460168405</c:v>
                </c:pt>
                <c:pt idx="7">
                  <c:v>0.0139349174825100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i Go!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ella (16.1%)</c:v>
                </c:pt>
                <c:pt idx="1">
                  <c:v>Jan Niezbedny (20.2%)</c:v>
                </c:pt>
                <c:pt idx="2">
                  <c:v>Carrefour (16.6%)</c:v>
                </c:pt>
                <c:pt idx="3">
                  <c:v>Zosia Samosia (36.5%)</c:v>
                </c:pt>
                <c:pt idx="4">
                  <c:v>Anna Zaradna (3.2%)</c:v>
                </c:pt>
                <c:pt idx="5">
                  <c:v>Paclan (2.9%)</c:v>
                </c:pt>
                <c:pt idx="6">
                  <c:v>Ravi (1.1%)</c:v>
                </c:pt>
                <c:pt idx="7">
                  <c:v>Grosik (1.1%)</c:v>
                </c:pt>
              </c:strCache>
            </c:strRef>
          </c:cat>
          <c:val>
            <c:numRef>
              <c:f>Sheet1!$B$2:$B$9</c:f>
              <c:numCache>
                <c:formatCode>General</c:formatCode>
                <c:ptCount val="8"/>
                <c:pt idx="0">
                  <c:v>0.26240304640089707</c:v>
                </c:pt>
                <c:pt idx="1">
                  <c:v>0.22477188669864398</c:v>
                </c:pt>
                <c:pt idx="2">
                  <c:v>0.20357027644111003</c:v>
                </c:pt>
                <c:pt idx="3">
                  <c:v>0.19864153365080475</c:v>
                </c:pt>
                <c:pt idx="4">
                  <c:v>0.05358661902058105</c:v>
                </c:pt>
                <c:pt idx="5">
                  <c:v>0.02738181588038198</c:v>
                </c:pt>
                <c:pt idx="6">
                  <c:v>0.016404239101216866</c:v>
                </c:pt>
                <c:pt idx="7">
                  <c:v>0.013240582806388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Zosia Samosia (36.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rrefour (16.6%)</c:v>
                </c:pt>
                <c:pt idx="1">
                  <c:v>Jan Niezbedny (20.2%)</c:v>
                </c:pt>
                <c:pt idx="2">
                  <c:v>Stella (16.1%)</c:v>
                </c:pt>
                <c:pt idx="3">
                  <c:v>Paclan (2.9%)</c:v>
                </c:pt>
                <c:pt idx="4">
                  <c:v>Anna Zaradna (3.2%)</c:v>
                </c:pt>
                <c:pt idx="5">
                  <c:v>Grosik (1.1%)</c:v>
                </c:pt>
                <c:pt idx="6">
                  <c:v>Ravi (1.1%)</c:v>
                </c:pt>
                <c:pt idx="7">
                  <c:v>Vi Go! (2.2%)</c:v>
                </c:pt>
              </c:strCache>
            </c:strRef>
          </c:cat>
          <c:val>
            <c:numRef>
              <c:f>Sheet1!$B$2:$B$9</c:f>
              <c:numCache>
                <c:formatCode>General</c:formatCode>
                <c:ptCount val="8"/>
                <c:pt idx="0">
                  <c:v>0.3823722508164922</c:v>
                </c:pt>
                <c:pt idx="1">
                  <c:v>0.23639063865287144</c:v>
                </c:pt>
                <c:pt idx="2">
                  <c:v>0.2217449515576307</c:v>
                </c:pt>
                <c:pt idx="3">
                  <c:v>0.05135507504495116</c:v>
                </c:pt>
                <c:pt idx="4">
                  <c:v>0.04267355735415499</c:v>
                </c:pt>
                <c:pt idx="5">
                  <c:v>0.02281219287199698</c:v>
                </c:pt>
                <c:pt idx="6">
                  <c:v>0.02250854688549315</c:v>
                </c:pt>
                <c:pt idx="7">
                  <c:v>0.0201427868164112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Zosia Samosia (36.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arrefour (16.6%)</c:v>
                </c:pt>
                <c:pt idx="1">
                  <c:v>Stella (16.1%)</c:v>
                </c:pt>
                <c:pt idx="2">
                  <c:v>Jan Niezbedny (20.2%)</c:v>
                </c:pt>
                <c:pt idx="3">
                  <c:v>Paclan (2.9%)</c:v>
                </c:pt>
                <c:pt idx="4">
                  <c:v>Anna Zaradna (3.2%)</c:v>
                </c:pt>
                <c:pt idx="5">
                  <c:v>Grosik (1.1%)</c:v>
                </c:pt>
                <c:pt idx="6">
                  <c:v>Vi Go! (2.2%)</c:v>
                </c:pt>
                <c:pt idx="7">
                  <c:v>Ravi (1.1%)</c:v>
                </c:pt>
              </c:strCache>
            </c:strRef>
          </c:cat>
          <c:val>
            <c:numRef>
              <c:f>Sheet1!$B$2:$B$9</c:f>
              <c:numCache>
                <c:formatCode>General</c:formatCode>
                <c:ptCount val="8"/>
                <c:pt idx="0">
                  <c:v>0.32824862120819087</c:v>
                </c:pt>
                <c:pt idx="1">
                  <c:v>0.2696646940206219</c:v>
                </c:pt>
                <c:pt idx="2">
                  <c:v>0.23116905793019846</c:v>
                </c:pt>
                <c:pt idx="3">
                  <c:v>0.06276935327907042</c:v>
                </c:pt>
                <c:pt idx="4">
                  <c:v>0.043228597462833016</c:v>
                </c:pt>
                <c:pt idx="5">
                  <c:v>0.025802036567640286</c:v>
                </c:pt>
                <c:pt idx="6">
                  <c:v>0.021513223905661096</c:v>
                </c:pt>
                <c:pt idx="7">
                  <c:v>0.0176044156257868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nna Zaradna Flat Top Unscented 35l 15ct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Wave Top Unscented Blue 35l 36ct (3.3%)</c:v>
                </c:pt>
                <c:pt idx="2">
                  <c:v>Jan Niezbedny Magnum Flex Draw Tape Unscented 35l 15ct (3.7%)</c:v>
                </c:pt>
                <c:pt idx="3">
                  <c:v>Anna Zaradna Wave Top Scented Floral Blue 35l 20ct (0.5%)</c:v>
                </c:pt>
                <c:pt idx="4">
                  <c:v>Jan Niezbedny T-Shirt Scented 35l 30ct (1.4%)</c:v>
                </c:pt>
                <c:pt idx="5">
                  <c:v>Stella Wave Top Scented lavender Purple 35l 24ct (1.9%)</c:v>
                </c:pt>
                <c:pt idx="6">
                  <c:v>Stella Wave Top Unscented 60l Durable 20ct (2.9%)</c:v>
                </c:pt>
                <c:pt idx="7">
                  <c:v>Jan Niezbedny T-Shirt Scented Yellow 20l 30ct (0.8%)</c:v>
                </c:pt>
                <c:pt idx="8">
                  <c:v>Jan Niezbedny Wave Top Unscented Blue 60l 20ct (2.6%)</c:v>
                </c:pt>
                <c:pt idx="9">
                  <c:v>Anna Zaradna Flat Top Unscented 60l 10ct (0.7%)</c:v>
                </c:pt>
              </c:strCache>
            </c:strRef>
          </c:cat>
          <c:val>
            <c:numRef>
              <c:f>Sheet1!$B$2:$B$11</c:f>
              <c:numCache>
                <c:formatCode>General</c:formatCode>
                <c:ptCount val="10"/>
                <c:pt idx="0">
                  <c:v>0.09325628478747333</c:v>
                </c:pt>
                <c:pt idx="1">
                  <c:v>0.04736317583061419</c:v>
                </c:pt>
                <c:pt idx="2">
                  <c:v>0.027451266951714622</c:v>
                </c:pt>
                <c:pt idx="3">
                  <c:v>0.026821263941036597</c:v>
                </c:pt>
                <c:pt idx="4">
                  <c:v>0.019471897947116887</c:v>
                </c:pt>
                <c:pt idx="5">
                  <c:v>0.015493183043193396</c:v>
                </c:pt>
                <c:pt idx="6">
                  <c:v>0.011233133632777751</c:v>
                </c:pt>
                <c:pt idx="7">
                  <c:v>0.01099632132258258</c:v>
                </c:pt>
                <c:pt idx="8">
                  <c:v>0.010709530603060036</c:v>
                </c:pt>
                <c:pt idx="9">
                  <c:v>0.00893968216445163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nna Zaradna Flat Top Unscented 35l 15ct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Magnum Flex Draw Tape Unscented 35l 15ct (3.7%)</c:v>
                </c:pt>
                <c:pt idx="2">
                  <c:v>Jan Niezbedny Wave Top Unscented Blue 35l 36ct (3.3%)</c:v>
                </c:pt>
                <c:pt idx="3">
                  <c:v>Anna Zaradna Wave Top Scented Floral Blue 35l 20ct (0.5%)</c:v>
                </c:pt>
                <c:pt idx="4">
                  <c:v>Jan Niezbedny T-Shirt Scented 35l 30ct (1.4%)</c:v>
                </c:pt>
                <c:pt idx="5">
                  <c:v>Stella Wave Top Scented lavender Purple 35l 24ct (1.9%)</c:v>
                </c:pt>
                <c:pt idx="6">
                  <c:v>Stella Wave Top Unscented 60l Durable 20ct (2.9%)</c:v>
                </c:pt>
                <c:pt idx="7">
                  <c:v>Anna Zaradna Flat Top Unscented 60l 10ct (0.7%)</c:v>
                </c:pt>
                <c:pt idx="8">
                  <c:v>Jan Niezbedny Wave Top Unscented Blue 60l 20ct (2.6%)</c:v>
                </c:pt>
                <c:pt idx="9">
                  <c:v>Jan Niezbedny Magnum Flex Draw Tape Unscented 60l 10ct (2.9%)</c:v>
                </c:pt>
              </c:strCache>
            </c:strRef>
          </c:cat>
          <c:val>
            <c:numRef>
              <c:f>Sheet1!$B$2:$B$11</c:f>
              <c:numCache>
                <c:formatCode>General</c:formatCode>
                <c:ptCount val="10"/>
                <c:pt idx="0">
                  <c:v>0.07831932892247258</c:v>
                </c:pt>
                <c:pt idx="1">
                  <c:v>0.06995455544326278</c:v>
                </c:pt>
                <c:pt idx="2">
                  <c:v>0.05923433027008058</c:v>
                </c:pt>
                <c:pt idx="3">
                  <c:v>0.028425324507425954</c:v>
                </c:pt>
                <c:pt idx="4">
                  <c:v>0.02684697718595934</c:v>
                </c:pt>
                <c:pt idx="5">
                  <c:v>0.02650008078458518</c:v>
                </c:pt>
                <c:pt idx="6">
                  <c:v>0.013838324016746123</c:v>
                </c:pt>
                <c:pt idx="7">
                  <c:v>0.012362614866491447</c:v>
                </c:pt>
                <c:pt idx="8">
                  <c:v>0.011876923130873577</c:v>
                </c:pt>
                <c:pt idx="9">
                  <c:v>0.009695611694544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nna Zaradna Flat Top Unscented 60l 10c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Wave Top Unscented Blue 60l 20ct (2.6%)</c:v>
                </c:pt>
                <c:pt idx="2">
                  <c:v>Stella Wave Top Unscented 35l 30ct (3.6%)</c:v>
                </c:pt>
                <c:pt idx="3">
                  <c:v>Anna Zaradna Flat Top Unscented 35l 15ct (0.9%)</c:v>
                </c:pt>
                <c:pt idx="4">
                  <c:v>Anna Zaradna Wave Top Scented Floral Blue 60l 10ct (0.3%)</c:v>
                </c:pt>
                <c:pt idx="5">
                  <c:v>Jan Niezbedny Wave Top Unscented Blue 35l 36ct (3.3%)</c:v>
                </c:pt>
                <c:pt idx="6">
                  <c:v>Anna Zaradna Flat Top Unscented 120l 10ct (0.4%)</c:v>
                </c:pt>
                <c:pt idx="7">
                  <c:v>Jan Niezbedny Magnum Flex Draw Tape Unscented 35l 15ct (3.7%)</c:v>
                </c:pt>
                <c:pt idx="8">
                  <c:v>Jan Niezbedny Magnum Flex Draw Tape Unscented 60l 10ct (2.9%)</c:v>
                </c:pt>
                <c:pt idx="9">
                  <c:v>Jan Niezbedny T-Shirt Scented Purple 60l 20ct (1.6%)</c:v>
                </c:pt>
              </c:strCache>
            </c:strRef>
          </c:cat>
          <c:val>
            <c:numRef>
              <c:f>Sheet1!$B$2:$B$11</c:f>
              <c:numCache>
                <c:formatCode>General</c:formatCode>
                <c:ptCount val="10"/>
                <c:pt idx="0">
                  <c:v>0.0632092444008619</c:v>
                </c:pt>
                <c:pt idx="1">
                  <c:v>0.030999255135480977</c:v>
                </c:pt>
                <c:pt idx="2">
                  <c:v>0.016342516078216747</c:v>
                </c:pt>
                <c:pt idx="3">
                  <c:v>0.014890177037136692</c:v>
                </c:pt>
                <c:pt idx="4">
                  <c:v>0.013243457648150088</c:v>
                </c:pt>
                <c:pt idx="5">
                  <c:v>0.012978842590418004</c:v>
                </c:pt>
                <c:pt idx="6">
                  <c:v>0.012394892467521533</c:v>
                </c:pt>
                <c:pt idx="7">
                  <c:v>0.011529872819796885</c:v>
                </c:pt>
                <c:pt idx="8">
                  <c:v>0.010857548092828751</c:v>
                </c:pt>
                <c:pt idx="9">
                  <c:v>0.0104249495632257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nna Zaradna Flat Top Unscented 60l 10c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Wave Top Unscented Blue 60l 20ct (2.6%)</c:v>
                </c:pt>
                <c:pt idx="2">
                  <c:v>Jan Niezbedny Magnum Flex Draw Tape Unscented 35l 15ct (3.7%)</c:v>
                </c:pt>
                <c:pt idx="3">
                  <c:v>Jan Niezbedny Magnum Flex Draw Tape Unscented 60l 10ct (2.9%)</c:v>
                </c:pt>
                <c:pt idx="4">
                  <c:v>Anna Zaradna Flat Top Unscented 35l 15ct (0.9%)</c:v>
                </c:pt>
                <c:pt idx="5">
                  <c:v>Anna Zaradna Flat Top Unscented 120l 10ct (0.4%)</c:v>
                </c:pt>
                <c:pt idx="6">
                  <c:v>Jan Niezbedny Wave Top Unscented Blue 35l 36ct (3.3%)</c:v>
                </c:pt>
                <c:pt idx="7">
                  <c:v>Anna Zaradna Wave Top Scented Floral Blue 60l 10ct (0.3%)</c:v>
                </c:pt>
                <c:pt idx="8">
                  <c:v>Stella Wave Top Unscented 35l 30ct (3.6%)</c:v>
                </c:pt>
                <c:pt idx="9">
                  <c:v>Stella Wave Top Scented lavender Purple 60l 16ct (1.7%)</c:v>
                </c:pt>
              </c:strCache>
            </c:strRef>
          </c:cat>
          <c:val>
            <c:numRef>
              <c:f>Sheet1!$B$2:$B$11</c:f>
              <c:numCache>
                <c:formatCode>General</c:formatCode>
                <c:ptCount val="10"/>
                <c:pt idx="0">
                  <c:v>0.07252168197484177</c:v>
                </c:pt>
                <c:pt idx="1">
                  <c:v>0.03146458153231887</c:v>
                </c:pt>
                <c:pt idx="2">
                  <c:v>0.030423581285275635</c:v>
                </c:pt>
                <c:pt idx="3">
                  <c:v>0.026434459288140227</c:v>
                </c:pt>
                <c:pt idx="4">
                  <c:v>0.025124858856728344</c:v>
                </c:pt>
                <c:pt idx="5">
                  <c:v>0.02303226309969126</c:v>
                </c:pt>
                <c:pt idx="6">
                  <c:v>0.01992500138342916</c:v>
                </c:pt>
                <c:pt idx="7">
                  <c:v>0.018872494685756937</c:v>
                </c:pt>
                <c:pt idx="8">
                  <c:v>0.013872451007501356</c:v>
                </c:pt>
                <c:pt idx="9">
                  <c:v>0.0121922939204129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nna Zaradna Flat Top Unscented 120l 10ct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Anna Zaradna Flat Top Unscented 60l 10ct (0.7%)</c:v>
                </c:pt>
                <c:pt idx="2">
                  <c:v>Jan Niezbedny Magnum Flex Draw Tape Unscented 60l 10ct (2.9%)</c:v>
                </c:pt>
                <c:pt idx="3">
                  <c:v>Jan Niezbedny Wave Top Unscented Blue 60l 20ct (2.6%)</c:v>
                </c:pt>
                <c:pt idx="4">
                  <c:v>Jan Niezbedny Magnum Flex Draw Tape Unscented 35l 15ct (3.7%)</c:v>
                </c:pt>
                <c:pt idx="5">
                  <c:v>Jan Niezbedny Wave Top Unscented Blue 35l 36ct (3.3%)</c:v>
                </c:pt>
                <c:pt idx="6">
                  <c:v>Anna Zaradna Flat Top Unscented 35l 15ct (0.9%)</c:v>
                </c:pt>
                <c:pt idx="7">
                  <c:v>Stella Wave Top Scented lavender Purple 60l 16ct (1.7%)</c:v>
                </c:pt>
                <c:pt idx="8">
                  <c:v>Jan Niezbedny T-Shirt Scented Purple 60l 20ct (1.6%)</c:v>
                </c:pt>
                <c:pt idx="9">
                  <c:v>Jan Niezbedny Magnum Flex Draw Tape Scented lavender 60l 8ct (0.8%)</c:v>
                </c:pt>
              </c:strCache>
            </c:strRef>
          </c:cat>
          <c:val>
            <c:numRef>
              <c:f>Sheet1!$B$2:$B$11</c:f>
              <c:numCache>
                <c:formatCode>General</c:formatCode>
                <c:ptCount val="10"/>
                <c:pt idx="0">
                  <c:v>0.05444539000987244</c:v>
                </c:pt>
                <c:pt idx="1">
                  <c:v>0.05037467943017953</c:v>
                </c:pt>
                <c:pt idx="2">
                  <c:v>0.03376105987472519</c:v>
                </c:pt>
                <c:pt idx="3">
                  <c:v>0.029878956720424857</c:v>
                </c:pt>
                <c:pt idx="4">
                  <c:v>0.029235927820812253</c:v>
                </c:pt>
                <c:pt idx="5">
                  <c:v>0.024792834482097577</c:v>
                </c:pt>
                <c:pt idx="6">
                  <c:v>0.01681234694437797</c:v>
                </c:pt>
                <c:pt idx="7">
                  <c:v>0.015468410817127114</c:v>
                </c:pt>
                <c:pt idx="8">
                  <c:v>0.013657214367831044</c:v>
                </c:pt>
                <c:pt idx="9">
                  <c:v>0.01088871184913473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nna Zaradna Flat Top Unscented 120l 10ct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Anna Zaradna Flat Top Unscented 60l 10ct (0.7%)</c:v>
                </c:pt>
                <c:pt idx="2">
                  <c:v>Jan Niezbedny Magnum Flex Draw Tape Unscented 60l 10ct (2.9%)</c:v>
                </c:pt>
                <c:pt idx="3">
                  <c:v>Jan Niezbedny Magnum Flex Draw Tape Unscented 35l 15ct (3.7%)</c:v>
                </c:pt>
                <c:pt idx="4">
                  <c:v>Jan Niezbedny Wave Top Unscented Blue 35l 36ct (3.3%)</c:v>
                </c:pt>
                <c:pt idx="5">
                  <c:v>Jan Niezbedny Wave Top Unscented Blue 60l 20ct (2.6%)</c:v>
                </c:pt>
                <c:pt idx="6">
                  <c:v>Anna Zaradna Flat Top Unscented 35l 15ct (0.9%)</c:v>
                </c:pt>
                <c:pt idx="7">
                  <c:v>Stella Wave Top Scented lavender Purple 60l 16ct (1.7%)</c:v>
                </c:pt>
                <c:pt idx="8">
                  <c:v>Jan Niezbedny Magnum Flex Draw Tape Scented lavender 60l 8ct (0.8%)</c:v>
                </c:pt>
                <c:pt idx="9">
                  <c:v>Jan Niezbedny T-Shirt Scented Purple 60l 20ct (1.6%)</c:v>
                </c:pt>
              </c:strCache>
            </c:strRef>
          </c:cat>
          <c:val>
            <c:numRef>
              <c:f>Sheet1!$B$2:$B$11</c:f>
              <c:numCache>
                <c:formatCode>General</c:formatCode>
                <c:ptCount val="10"/>
                <c:pt idx="0">
                  <c:v>0.061258770075852696</c:v>
                </c:pt>
                <c:pt idx="1">
                  <c:v>0.051712576015555414</c:v>
                </c:pt>
                <c:pt idx="2">
                  <c:v>0.04623608123718123</c:v>
                </c:pt>
                <c:pt idx="3">
                  <c:v>0.042845463321514864</c:v>
                </c:pt>
                <c:pt idx="4">
                  <c:v>0.029552992873765345</c:v>
                </c:pt>
                <c:pt idx="5">
                  <c:v>0.02841403970862022</c:v>
                </c:pt>
                <c:pt idx="6">
                  <c:v>0.020941098047028005</c:v>
                </c:pt>
                <c:pt idx="7">
                  <c:v>0.019289951798104808</c:v>
                </c:pt>
                <c:pt idx="8">
                  <c:v>0.013007819580589884</c:v>
                </c:pt>
                <c:pt idx="9">
                  <c:v>0.0112194158168432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Anna Zarad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Jan Niezbed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Stel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Carrefou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Ravi</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Vi G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Zosia Samosi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8</c:f>
              <c:numCache>
                <c:formatCode>General</c:formatCode>
                <c:ptCount val="7"/>
                <c:pt idx="0">
                  <c:v>-1.800044507303751</c:v>
                </c:pt>
                <c:pt idx="1">
                  <c:v>-1.3683556882882895</c:v>
                </c:pt>
                <c:pt idx="2">
                  <c:v>-1.4120034192113187</c:v>
                </c:pt>
                <c:pt idx="3">
                  <c:v>-0.603356431155532</c:v>
                </c:pt>
                <c:pt idx="4">
                  <c:v>-1.0355504723770712</c:v>
                </c:pt>
                <c:pt idx="5">
                  <c:v>-1.2942228588904023</c:v>
                </c:pt>
                <c:pt idx="6">
                  <c:v>-0.8811319700839725</c:v>
                </c:pt>
              </c:numCache>
            </c:numRef>
          </c:xVal>
          <c:yVal>
            <c:numRef>
              <c:f>Sheet1!$B$2:$B$8</c:f>
              <c:numCache>
                <c:formatCode>General</c:formatCode>
                <c:ptCount val="7"/>
                <c:pt idx="0">
                  <c:v>-1.8103111392120026</c:v>
                </c:pt>
                <c:pt idx="1">
                  <c:v>-1.5792212197606708</c:v>
                </c:pt>
                <c:pt idx="2">
                  <c:v>-1.3260172282021288</c:v>
                </c:pt>
                <c:pt idx="3">
                  <c:v>-1.1864645944945234</c:v>
                </c:pt>
                <c:pt idx="4">
                  <c:v>-1.027995141295996</c:v>
                </c:pt>
                <c:pt idx="5">
                  <c:v>-0.8966384103807861</c:v>
                </c:pt>
                <c:pt idx="6">
                  <c:v>-0.5208598944615187</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nna Zaradna Flat Top Unscented 240l 10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Wave Top Unscented Blue 60l 20ct (2.6%)</c:v>
                </c:pt>
                <c:pt idx="2">
                  <c:v>Jan Niezbedny Magnum Flex Draw Tape Unscented 35l 15ct (3.7%)</c:v>
                </c:pt>
                <c:pt idx="3">
                  <c:v>Jan Niezbedny Magnum Flex Draw Tape Unscented 60l 10ct (2.9%)</c:v>
                </c:pt>
                <c:pt idx="4">
                  <c:v>Stella Wave Top Unscented 35l 4x10ct (1.3%)</c:v>
                </c:pt>
                <c:pt idx="5">
                  <c:v>Jan Niezbedny Wave Top Unscented Blue 35l 36ct (3.3%)</c:v>
                </c:pt>
                <c:pt idx="6">
                  <c:v>Stella Wave Top Scented lavender Purple 35l 24ct (1.9%)</c:v>
                </c:pt>
                <c:pt idx="7">
                  <c:v>Stella Wave Top Unscented 35l 30ct (3.6%)</c:v>
                </c:pt>
                <c:pt idx="8">
                  <c:v>Jan Niezbedny T-Shirt Scented Purple 60l 20ct (1.6%)</c:v>
                </c:pt>
                <c:pt idx="9">
                  <c:v>Stella Wave Top Scented lavender Purple 60l 16ct (1.7%)</c:v>
                </c:pt>
              </c:strCache>
            </c:strRef>
          </c:cat>
          <c:val>
            <c:numRef>
              <c:f>Sheet1!$B$2:$B$11</c:f>
              <c:numCache>
                <c:formatCode>General</c:formatCode>
                <c:ptCount val="10"/>
                <c:pt idx="0">
                  <c:v>0.05770182174920927</c:v>
                </c:pt>
                <c:pt idx="1">
                  <c:v>0.04095350447893463</c:v>
                </c:pt>
                <c:pt idx="2">
                  <c:v>0.0384294064751891</c:v>
                </c:pt>
                <c:pt idx="3">
                  <c:v>0.038256208133729444</c:v>
                </c:pt>
                <c:pt idx="4">
                  <c:v>0.03283994031157231</c:v>
                </c:pt>
                <c:pt idx="5">
                  <c:v>0.026880984244502533</c:v>
                </c:pt>
                <c:pt idx="6">
                  <c:v>0.026446597435720018</c:v>
                </c:pt>
                <c:pt idx="7">
                  <c:v>0.02423680859197697</c:v>
                </c:pt>
                <c:pt idx="8">
                  <c:v>0.02311296283251291</c:v>
                </c:pt>
                <c:pt idx="9">
                  <c:v>0.021904939818424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nna Zaradna Flat Top Unscented 240l 10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Magnum Flex Draw Tape Unscented 60l 10ct (2.9%)</c:v>
                </c:pt>
                <c:pt idx="2">
                  <c:v>Jan Niezbedny Wave Top Unscented Blue 60l 20ct (2.6%)</c:v>
                </c:pt>
                <c:pt idx="3">
                  <c:v>Jan Niezbedny Magnum Flex Draw Tape Unscented 35l 15ct (3.7%)</c:v>
                </c:pt>
                <c:pt idx="4">
                  <c:v>Jan Niezbedny Wave Top Unscented Blue 35l 36ct (3.3%)</c:v>
                </c:pt>
                <c:pt idx="5">
                  <c:v>Stella Wave Top Scented lavender Purple 60l 16ct (1.7%)</c:v>
                </c:pt>
                <c:pt idx="6">
                  <c:v>Stella Wave Top Unscented 35l 4x10ct (1.3%)</c:v>
                </c:pt>
                <c:pt idx="7">
                  <c:v>Jan Niezbedny T-Shirt Scented Purple 60l 20ct (1.6%)</c:v>
                </c:pt>
                <c:pt idx="8">
                  <c:v>Stella Wave Top Unscented 35l 30ct (3.6%)</c:v>
                </c:pt>
                <c:pt idx="9">
                  <c:v>Stella Wave Top Scented lavender Purple 35l 24ct (1.9%)</c:v>
                </c:pt>
              </c:strCache>
            </c:strRef>
          </c:cat>
          <c:val>
            <c:numRef>
              <c:f>Sheet1!$B$2:$B$11</c:f>
              <c:numCache>
                <c:formatCode>General</c:formatCode>
                <c:ptCount val="10"/>
                <c:pt idx="0">
                  <c:v>0.06586952634511441</c:v>
                </c:pt>
                <c:pt idx="1">
                  <c:v>0.06252480952556724</c:v>
                </c:pt>
                <c:pt idx="2">
                  <c:v>0.042785562374515085</c:v>
                </c:pt>
                <c:pt idx="3">
                  <c:v>0.04268870742574691</c:v>
                </c:pt>
                <c:pt idx="4">
                  <c:v>0.029298108073917566</c:v>
                </c:pt>
                <c:pt idx="5">
                  <c:v>0.028087972002387905</c:v>
                </c:pt>
                <c:pt idx="6">
                  <c:v>0.026299339276797788</c:v>
                </c:pt>
                <c:pt idx="7">
                  <c:v>0.02204182713366321</c:v>
                </c:pt>
                <c:pt idx="8">
                  <c:v>0.01989675056552402</c:v>
                </c:pt>
                <c:pt idx="9">
                  <c:v>0.0193475841011849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nna Zaradna Wave Top Scented Floral Blue 20l 30ct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T-Shirt Scented 35l 30ct (1.4%)</c:v>
                </c:pt>
                <c:pt idx="2">
                  <c:v>Stella Wave Top Unscented 60l Durable 20ct (2.9%)</c:v>
                </c:pt>
                <c:pt idx="3">
                  <c:v>Jan Niezbedny T-Shirt Scented Yellow 20l 30ct (0.8%)</c:v>
                </c:pt>
                <c:pt idx="4">
                  <c:v>Stella Wave Top Unscented 35l 4x10ct (1.3%)</c:v>
                </c:pt>
                <c:pt idx="5">
                  <c:v>Stella Wave Top Scented lavender Purple 35l 24ct (1.9%)</c:v>
                </c:pt>
                <c:pt idx="6">
                  <c:v>Jan Niezbedny Wave Top Unscented Blue 35l 36ct (3.3%)</c:v>
                </c:pt>
                <c:pt idx="7">
                  <c:v>Jan Niezbedny Magnum Flex Draw Tape Unscented 35l 15ct (3.7%)</c:v>
                </c:pt>
                <c:pt idx="8">
                  <c:v>Anna Zaradna Wave Top Scented Floral Blue 35l 20ct (0.5%)</c:v>
                </c:pt>
                <c:pt idx="9">
                  <c:v>Anna Zaradna Flat Top Unscented 35l 15ct (0.9%)</c:v>
                </c:pt>
              </c:strCache>
            </c:strRef>
          </c:cat>
          <c:val>
            <c:numRef>
              <c:f>Sheet1!$B$2:$B$11</c:f>
              <c:numCache>
                <c:formatCode>General</c:formatCode>
                <c:ptCount val="10"/>
                <c:pt idx="0">
                  <c:v>0.07101737660347746</c:v>
                </c:pt>
                <c:pt idx="1">
                  <c:v>0.03579951152724434</c:v>
                </c:pt>
                <c:pt idx="2">
                  <c:v>0.029112385359804566</c:v>
                </c:pt>
                <c:pt idx="3">
                  <c:v>0.02839375801093781</c:v>
                </c:pt>
                <c:pt idx="4">
                  <c:v>0.022811555488061696</c:v>
                </c:pt>
                <c:pt idx="5">
                  <c:v>0.020092952204352185</c:v>
                </c:pt>
                <c:pt idx="6">
                  <c:v>0.015287685821637583</c:v>
                </c:pt>
                <c:pt idx="7">
                  <c:v>0.014634147458908982</c:v>
                </c:pt>
                <c:pt idx="8">
                  <c:v>0.013178126591654448</c:v>
                </c:pt>
                <c:pt idx="9">
                  <c:v>0.01228996170132677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nna Zaradna Wave Top Scented Floral Blue 20l 30ct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T-Shirt Scented 35l 30ct (1.4%)</c:v>
                </c:pt>
                <c:pt idx="2">
                  <c:v>Jan Niezbedny Magnum Flex Draw Tape Unscented 35l 15ct (3.7%)</c:v>
                </c:pt>
                <c:pt idx="3">
                  <c:v>Stella Wave Top Scented lavender Purple 35l 24ct (1.9%)</c:v>
                </c:pt>
                <c:pt idx="4">
                  <c:v>Stella Wave Top Unscented 60l Durable 20ct (2.9%)</c:v>
                </c:pt>
                <c:pt idx="5">
                  <c:v>Stella Wave Top Unscented 35l 4x10ct (1.3%)</c:v>
                </c:pt>
                <c:pt idx="6">
                  <c:v>Jan Niezbedny Wave Top Unscented Blue 35l 36ct (3.3%)</c:v>
                </c:pt>
                <c:pt idx="7">
                  <c:v>Jan Niezbedny T-Shirt Scented Yellow 20l 30ct (0.8%)</c:v>
                </c:pt>
                <c:pt idx="8">
                  <c:v>Anna Zaradna Flat Top Unscented 35l 15ct (0.9%)</c:v>
                </c:pt>
                <c:pt idx="9">
                  <c:v>Anna Zaradna Wave Top Scented Floral Blue 35l 20ct (0.5%)</c:v>
                </c:pt>
              </c:strCache>
            </c:strRef>
          </c:cat>
          <c:val>
            <c:numRef>
              <c:f>Sheet1!$B$2:$B$11</c:f>
              <c:numCache>
                <c:formatCode>General</c:formatCode>
                <c:ptCount val="10"/>
                <c:pt idx="0">
                  <c:v>0.06893246579415388</c:v>
                </c:pt>
                <c:pt idx="1">
                  <c:v>0.04473077470651391</c:v>
                </c:pt>
                <c:pt idx="2">
                  <c:v>0.03378429339149257</c:v>
                </c:pt>
                <c:pt idx="3">
                  <c:v>0.033565380710899546</c:v>
                </c:pt>
                <c:pt idx="4">
                  <c:v>0.03175335078765766</c:v>
                </c:pt>
                <c:pt idx="5">
                  <c:v>0.02962091335597857</c:v>
                </c:pt>
                <c:pt idx="6">
                  <c:v>0.02627569503266811</c:v>
                </c:pt>
                <c:pt idx="7">
                  <c:v>0.02513105882523441</c:v>
                </c:pt>
                <c:pt idx="8">
                  <c:v>0.020417396589876048</c:v>
                </c:pt>
                <c:pt idx="9">
                  <c:v>0.02035118963786198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nna Zaradna Wave Top Scented Floral Blue 35l 20ct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Wave Top Unscented Blue 35l 36ct (3.3%)</c:v>
                </c:pt>
                <c:pt idx="2">
                  <c:v>Anna Zaradna Flat Top Unscented 35l 15ct (0.9%)</c:v>
                </c:pt>
                <c:pt idx="3">
                  <c:v>Jan Niezbedny Magnum Flex Draw Tape Unscented 35l 15ct (3.7%)</c:v>
                </c:pt>
                <c:pt idx="4">
                  <c:v>Stella Wave Top Scented lavender Purple 35l 24ct (1.9%)</c:v>
                </c:pt>
                <c:pt idx="5">
                  <c:v>Jan Niezbedny Wave Top Unscented Blue 60l 20ct (2.6%)</c:v>
                </c:pt>
                <c:pt idx="6">
                  <c:v>Stella Wave Top Unscented 60l Durable 20ct (2.9%)</c:v>
                </c:pt>
                <c:pt idx="7">
                  <c:v>Jan Niezbedny T-Shirt Scented 35l 30ct (1.4%)</c:v>
                </c:pt>
                <c:pt idx="8">
                  <c:v>Stella Wave Top Unscented 35l 4x10ct (1.3%)</c:v>
                </c:pt>
                <c:pt idx="9">
                  <c:v>Jan Niezbedny T-Shirt Scented Yellow 20l 30ct (0.8%)</c:v>
                </c:pt>
              </c:strCache>
            </c:strRef>
          </c:cat>
          <c:val>
            <c:numRef>
              <c:f>Sheet1!$B$2:$B$11</c:f>
              <c:numCache>
                <c:formatCode>General</c:formatCode>
                <c:ptCount val="10"/>
                <c:pt idx="0">
                  <c:v>0.10611701254933441</c:v>
                </c:pt>
                <c:pt idx="1">
                  <c:v>0.059787697617956964</c:v>
                </c:pt>
                <c:pt idx="2">
                  <c:v>0.032270510487256224</c:v>
                </c:pt>
                <c:pt idx="3">
                  <c:v>0.015951884915211784</c:v>
                </c:pt>
                <c:pt idx="4">
                  <c:v>0.015062013775247123</c:v>
                </c:pt>
                <c:pt idx="5">
                  <c:v>0.011621732311398436</c:v>
                </c:pt>
                <c:pt idx="6">
                  <c:v>0.010947894444417614</c:v>
                </c:pt>
                <c:pt idx="7">
                  <c:v>0.009874374671020154</c:v>
                </c:pt>
                <c:pt idx="8">
                  <c:v>0.009197480679697553</c:v>
                </c:pt>
                <c:pt idx="9">
                  <c:v>0.00709504925867905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nna Zaradna Wave Top Scented Floral Blue 35l 20ct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Wave Top Unscented Blue 35l 36ct (3.3%)</c:v>
                </c:pt>
                <c:pt idx="2">
                  <c:v>Anna Zaradna Flat Top Unscented 35l 15ct (0.9%)</c:v>
                </c:pt>
                <c:pt idx="3">
                  <c:v>Jan Niezbedny Magnum Flex Draw Tape Unscented 35l 15ct (3.7%)</c:v>
                </c:pt>
                <c:pt idx="4">
                  <c:v>Stella Wave Top Scented lavender Purple 35l 24ct (1.9%)</c:v>
                </c:pt>
                <c:pt idx="5">
                  <c:v>Jan Niezbedny T-Shirt Scented 35l 30ct (1.4%)</c:v>
                </c:pt>
                <c:pt idx="6">
                  <c:v>Stella Wave Top Unscented 60l Durable 20ct (2.9%)</c:v>
                </c:pt>
                <c:pt idx="7">
                  <c:v>Stella Wave Top Unscented 35l 4x10ct (1.3%)</c:v>
                </c:pt>
                <c:pt idx="8">
                  <c:v>Jan Niezbedny Wave Top Unscented Blue 60l 20ct (2.6%)</c:v>
                </c:pt>
                <c:pt idx="9">
                  <c:v>Stella Draw Tape Scented lavender Purple 35l 15ct (0.6%)</c:v>
                </c:pt>
              </c:strCache>
            </c:strRef>
          </c:cat>
          <c:val>
            <c:numRef>
              <c:f>Sheet1!$B$2:$B$11</c:f>
              <c:numCache>
                <c:formatCode>General</c:formatCode>
                <c:ptCount val="10"/>
                <c:pt idx="0">
                  <c:v>0.08572534078616617</c:v>
                </c:pt>
                <c:pt idx="1">
                  <c:v>0.0701366414880923</c:v>
                </c:pt>
                <c:pt idx="2">
                  <c:v>0.04010980473028345</c:v>
                </c:pt>
                <c:pt idx="3">
                  <c:v>0.03881934829546004</c:v>
                </c:pt>
                <c:pt idx="4">
                  <c:v>0.028872396271922552</c:v>
                </c:pt>
                <c:pt idx="5">
                  <c:v>0.0149183235790329</c:v>
                </c:pt>
                <c:pt idx="6">
                  <c:v>0.014082592843679027</c:v>
                </c:pt>
                <c:pt idx="7">
                  <c:v>0.011912735864239516</c:v>
                </c:pt>
                <c:pt idx="8">
                  <c:v>0.011687693664812612</c:v>
                </c:pt>
                <c:pt idx="9">
                  <c:v>0.0106595464440864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nna Zaradna Wave Top Scented Floral Blue 60l 10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Stella Wave Top Unscented 60l Durable 20ct (2.9%)</c:v>
                </c:pt>
                <c:pt idx="2">
                  <c:v>Jan Niezbedny T-Shirt Scented Purple 60l 20ct (1.6%)</c:v>
                </c:pt>
                <c:pt idx="3">
                  <c:v>Stella Wave Top Scented lavender Purple 35l 24ct (1.9%)</c:v>
                </c:pt>
                <c:pt idx="4">
                  <c:v>Stella Wave Top Unscented 35l 30ct (3.6%)</c:v>
                </c:pt>
                <c:pt idx="5">
                  <c:v>Stella Wave Top Unscented 35l 4x10ct (1.3%)</c:v>
                </c:pt>
                <c:pt idx="6">
                  <c:v>Anna Zaradna Flat Top Unscented 60l 10ct (0.7%)</c:v>
                </c:pt>
                <c:pt idx="7">
                  <c:v>Jan Niezbedny Magnum Flex Draw Tape Unscented 35l 15ct (3.7%)</c:v>
                </c:pt>
                <c:pt idx="8">
                  <c:v>Stella Wave Top Scented lavender Purple 60l 16ct (1.7%)</c:v>
                </c:pt>
                <c:pt idx="9">
                  <c:v>Stella Wave Top Scented Vanilla latte Beige 60l 16ct (0.8%)</c:v>
                </c:pt>
              </c:strCache>
            </c:strRef>
          </c:cat>
          <c:val>
            <c:numRef>
              <c:f>Sheet1!$B$2:$B$11</c:f>
              <c:numCache>
                <c:formatCode>General</c:formatCode>
                <c:ptCount val="10"/>
                <c:pt idx="0">
                  <c:v>0.0713041912506727</c:v>
                </c:pt>
                <c:pt idx="1">
                  <c:v>0.059142313898060704</c:v>
                </c:pt>
                <c:pt idx="2">
                  <c:v>0.04004066455332061</c:v>
                </c:pt>
                <c:pt idx="3">
                  <c:v>0.03338769276699261</c:v>
                </c:pt>
                <c:pt idx="4">
                  <c:v>0.024144480869328976</c:v>
                </c:pt>
                <c:pt idx="5">
                  <c:v>0.02133063836111398</c:v>
                </c:pt>
                <c:pt idx="6">
                  <c:v>0.02113745270670957</c:v>
                </c:pt>
                <c:pt idx="7">
                  <c:v>0.015166129010295938</c:v>
                </c:pt>
                <c:pt idx="8">
                  <c:v>0.013247294104706885</c:v>
                </c:pt>
                <c:pt idx="9">
                  <c:v>0.0107169221249366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nna Zaradna Wave Top Scented Floral Blue 60l 10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Stella Wave Top Unscented 60l Durable 20ct (2.9%)</c:v>
                </c:pt>
                <c:pt idx="2">
                  <c:v>Jan Niezbedny T-Shirt Scented Purple 60l 20ct (1.6%)</c:v>
                </c:pt>
                <c:pt idx="3">
                  <c:v>Anna Zaradna Flat Top Unscented 60l 10ct (0.7%)</c:v>
                </c:pt>
                <c:pt idx="4">
                  <c:v>Stella Wave Top Scented lavender Purple 35l 24ct (1.9%)</c:v>
                </c:pt>
                <c:pt idx="5">
                  <c:v>Jan Niezbedny Magnum Flex Draw Tape Unscented 35l 15ct (3.7%)</c:v>
                </c:pt>
                <c:pt idx="6">
                  <c:v>Jan Niezbedny Magnum Flex Draw Tape Unscented 60l 10ct (2.9%)</c:v>
                </c:pt>
                <c:pt idx="7">
                  <c:v>Stella Wave Top Unscented 35l 30ct (3.6%)</c:v>
                </c:pt>
                <c:pt idx="8">
                  <c:v>Stella Wave Top Scented lavender Purple 60l 16ct (1.7%)</c:v>
                </c:pt>
                <c:pt idx="9">
                  <c:v>Jan Niezbedny Wave Top Unscented Blue 35l 36ct (3.3%)</c:v>
                </c:pt>
              </c:strCache>
            </c:strRef>
          </c:cat>
          <c:val>
            <c:numRef>
              <c:f>Sheet1!$B$2:$B$11</c:f>
              <c:numCache>
                <c:formatCode>General</c:formatCode>
                <c:ptCount val="10"/>
                <c:pt idx="0">
                  <c:v>0.057246445998454555</c:v>
                </c:pt>
                <c:pt idx="1">
                  <c:v>0.05020382286910263</c:v>
                </c:pt>
                <c:pt idx="2">
                  <c:v>0.03570287266987325</c:v>
                </c:pt>
                <c:pt idx="3">
                  <c:v>0.030756916765422953</c:v>
                </c:pt>
                <c:pt idx="4">
                  <c:v>0.029337694380615138</c:v>
                </c:pt>
                <c:pt idx="5">
                  <c:v>0.02637872030748097</c:v>
                </c:pt>
                <c:pt idx="6">
                  <c:v>0.024273141843761458</c:v>
                </c:pt>
                <c:pt idx="7">
                  <c:v>0.021754344232448358</c:v>
                </c:pt>
                <c:pt idx="8">
                  <c:v>0.020850319834594958</c:v>
                </c:pt>
                <c:pt idx="9">
                  <c:v>0.0167497119279177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ędny Magnum Flex Odor Lock 35l 15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Jan Niezbedny Wave Top Unscented Blue 35l 36ct (3.3%)</c:v>
                </c:pt>
                <c:pt idx="2">
                  <c:v>Stella Wave Top Scented lavender Purple 35l 24ct (1.9%)</c:v>
                </c:pt>
                <c:pt idx="3">
                  <c:v>Jan Niezbedny Magnum Flex Draw Tape Unscented 60l 10ct (2.9%)</c:v>
                </c:pt>
                <c:pt idx="4">
                  <c:v>Stella Wave Top Unscented 35l 30ct (3.6%)</c:v>
                </c:pt>
                <c:pt idx="5">
                  <c:v>Jan Niezbedny T-Shirt Scented 35l 30ct (1.4%)</c:v>
                </c:pt>
                <c:pt idx="6">
                  <c:v>Jan Niezbedny Wave Top Unscented Blue 60l 20ct (2.6%)</c:v>
                </c:pt>
                <c:pt idx="7">
                  <c:v>Jan Niezbedny Magnum Flex Draw Tape Scented lavender 35l 12ct (0.6%)</c:v>
                </c:pt>
                <c:pt idx="8">
                  <c:v>Stella Wave Top Unscented 60l Durable 20ct (2.9%)</c:v>
                </c:pt>
                <c:pt idx="9">
                  <c:v>Anna Zaradna Flat Top Unscented 35l 15ct (0.9%)</c:v>
                </c:pt>
              </c:strCache>
            </c:strRef>
          </c:cat>
          <c:val>
            <c:numRef>
              <c:f>Sheet1!$B$2:$B$11</c:f>
              <c:numCache>
                <c:formatCode>General</c:formatCode>
                <c:ptCount val="10"/>
                <c:pt idx="0">
                  <c:v>0.15128017542032934</c:v>
                </c:pt>
                <c:pt idx="1">
                  <c:v>0.05811342456078369</c:v>
                </c:pt>
                <c:pt idx="2">
                  <c:v>0.05096710835300764</c:v>
                </c:pt>
                <c:pt idx="3">
                  <c:v>0.04945447989438556</c:v>
                </c:pt>
                <c:pt idx="4">
                  <c:v>0.035023394686473315</c:v>
                </c:pt>
                <c:pt idx="5">
                  <c:v>0.02823716867290791</c:v>
                </c:pt>
                <c:pt idx="6">
                  <c:v>0.022024822186139825</c:v>
                </c:pt>
                <c:pt idx="7">
                  <c:v>0.020889317381552804</c:v>
                </c:pt>
                <c:pt idx="8">
                  <c:v>0.01769003604658124</c:v>
                </c:pt>
                <c:pt idx="9">
                  <c:v>0.01705924296711694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ędny Magnum Flex Odor Lock 35l 15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Jan Niezbedny Wave Top Unscented Blue 35l 36ct (3.3%)</c:v>
                </c:pt>
                <c:pt idx="2">
                  <c:v>Jan Niezbedny Magnum Flex Draw Tape Unscented 60l 10ct (2.9%)</c:v>
                </c:pt>
                <c:pt idx="3">
                  <c:v>Stella Wave Top Scented lavender Purple 35l 24ct (1.9%)</c:v>
                </c:pt>
                <c:pt idx="4">
                  <c:v>Stella Wave Top Unscented 35l 30ct (3.6%)</c:v>
                </c:pt>
                <c:pt idx="5">
                  <c:v>Jan Niezbedny T-Shirt Scented 35l 30ct (1.4%)</c:v>
                </c:pt>
                <c:pt idx="6">
                  <c:v>Jan Niezbedny Wave Top Unscented Blue 60l 20ct (2.6%)</c:v>
                </c:pt>
                <c:pt idx="7">
                  <c:v>Jan Niezbedny Magnum Flex Draw Tape Scented lavender 35l 12ct (0.6%)</c:v>
                </c:pt>
                <c:pt idx="8">
                  <c:v>Anna Zaradna Flat Top Unscented 35l 15ct (0.9%)</c:v>
                </c:pt>
                <c:pt idx="9">
                  <c:v>Stella Wave Top Unscented 60l Durable 20ct (2.9%)</c:v>
                </c:pt>
              </c:strCache>
            </c:strRef>
          </c:cat>
          <c:val>
            <c:numRef>
              <c:f>Sheet1!$B$2:$B$11</c:f>
              <c:numCache>
                <c:formatCode>General</c:formatCode>
                <c:ptCount val="10"/>
                <c:pt idx="0">
                  <c:v>0.18786077524910322</c:v>
                </c:pt>
                <c:pt idx="1">
                  <c:v>0.06409210319950208</c:v>
                </c:pt>
                <c:pt idx="2">
                  <c:v>0.06263342651943729</c:v>
                </c:pt>
                <c:pt idx="3">
                  <c:v>0.0446699805504444</c:v>
                </c:pt>
                <c:pt idx="4">
                  <c:v>0.0377930998722812</c:v>
                </c:pt>
                <c:pt idx="5">
                  <c:v>0.025945931524597034</c:v>
                </c:pt>
                <c:pt idx="6">
                  <c:v>0.022135654425027334</c:v>
                </c:pt>
                <c:pt idx="7">
                  <c:v>0.019737508056627957</c:v>
                </c:pt>
                <c:pt idx="8">
                  <c:v>0.017806364459227522</c:v>
                </c:pt>
                <c:pt idx="9">
                  <c:v>0.0164839468496122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Jan Niezbed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Stel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Carrefou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Pacla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Ravi</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Vi G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Zosia Samosi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8</c:f>
              <c:numCache>
                <c:formatCode>General</c:formatCode>
                <c:ptCount val="7"/>
                <c:pt idx="0">
                  <c:v>-0.9472600330696378</c:v>
                </c:pt>
                <c:pt idx="1">
                  <c:v>-1.3862362143607445</c:v>
                </c:pt>
                <c:pt idx="2">
                  <c:v>-1.983790325899776</c:v>
                </c:pt>
                <c:pt idx="3">
                  <c:v>-2.4166466739420187</c:v>
                </c:pt>
                <c:pt idx="4">
                  <c:v>-1.590712472708919</c:v>
                </c:pt>
                <c:pt idx="5">
                  <c:v>-1.9508427410307747</c:v>
                </c:pt>
                <c:pt idx="6">
                  <c:v>-0.5670613298060443</c:v>
                </c:pt>
              </c:numCache>
            </c:numRef>
          </c:xVal>
          <c:yVal>
            <c:numRef>
              <c:f>Sheet1!$B$2:$B$8</c:f>
              <c:numCache>
                <c:formatCode>General</c:formatCode>
                <c:ptCount val="7"/>
                <c:pt idx="0">
                  <c:v>-0.7444349919695754</c:v>
                </c:pt>
                <c:pt idx="1">
                  <c:v>-1.1994227242822928</c:v>
                </c:pt>
                <c:pt idx="2">
                  <c:v>-1.7855797340568043</c:v>
                </c:pt>
                <c:pt idx="3">
                  <c:v>-1.6363700366987635</c:v>
                </c:pt>
                <c:pt idx="4">
                  <c:v>-1.763034669739009</c:v>
                </c:pt>
                <c:pt idx="5">
                  <c:v>-1.2763084854699098</c:v>
                </c:pt>
                <c:pt idx="6">
                  <c:v>-0.8779530446333208</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Magnum Flex Draw Tape Scented lavender 35l 12ct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Stella Wave Top Scented lavender Purple 35l 24ct (1.9%)</c:v>
                </c:pt>
                <c:pt idx="2">
                  <c:v>Jan Niezbedny Wave Top Unscented Blue 35l 36ct (3.3%)</c:v>
                </c:pt>
                <c:pt idx="3">
                  <c:v>Jan Niezbedny T-Shirt Scented 35l 30ct (1.4%)</c:v>
                </c:pt>
                <c:pt idx="4">
                  <c:v>Stella Wave Top Unscented 35l 30ct (3.6%)</c:v>
                </c:pt>
                <c:pt idx="5">
                  <c:v>Jan Niezbedny Wave Top Unscented Blue 60l 20ct (2.6%)</c:v>
                </c:pt>
                <c:pt idx="6">
                  <c:v>Jan Niezbedny T-Shirt Scented Purple 60l 20ct (1.6%)</c:v>
                </c:pt>
                <c:pt idx="7">
                  <c:v>Jan Niezbedny Magnum Flex Draw Tape Unscented 60l 10ct (2.9%)</c:v>
                </c:pt>
                <c:pt idx="8">
                  <c:v>Stella Wave Top Unscented 60l Durable 20ct (2.9%)</c:v>
                </c:pt>
                <c:pt idx="9">
                  <c:v>Stella Draw Tape Scented lavender Purple 60l 10ct (1.1%)</c:v>
                </c:pt>
              </c:strCache>
            </c:strRef>
          </c:cat>
          <c:val>
            <c:numRef>
              <c:f>Sheet1!$B$2:$B$11</c:f>
              <c:numCache>
                <c:formatCode>General</c:formatCode>
                <c:ptCount val="10"/>
                <c:pt idx="0">
                  <c:v>0.07915867791253198</c:v>
                </c:pt>
                <c:pt idx="1">
                  <c:v>0.07555085966179292</c:v>
                </c:pt>
                <c:pt idx="2">
                  <c:v>0.044639524444149675</c:v>
                </c:pt>
                <c:pt idx="3">
                  <c:v>0.03247811962172993</c:v>
                </c:pt>
                <c:pt idx="4">
                  <c:v>0.03102521879201725</c:v>
                </c:pt>
                <c:pt idx="5">
                  <c:v>0.026406614573507983</c:v>
                </c:pt>
                <c:pt idx="6">
                  <c:v>0.0227605820279282</c:v>
                </c:pt>
                <c:pt idx="7">
                  <c:v>0.021726487959913377</c:v>
                </c:pt>
                <c:pt idx="8">
                  <c:v>0.02016549613907969</c:v>
                </c:pt>
                <c:pt idx="9">
                  <c:v>0.017637635497413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Magnum Flex Draw Tape Scented lavender 35l 12ct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Stella Wave Top Scented lavender Purple 35l 24ct (1.9%)</c:v>
                </c:pt>
                <c:pt idx="2">
                  <c:v>Jan Niezbedny Wave Top Unscented Blue 35l 36ct (3.3%)</c:v>
                </c:pt>
                <c:pt idx="3">
                  <c:v>Stella Wave Top Unscented 35l 30ct (3.6%)</c:v>
                </c:pt>
                <c:pt idx="4">
                  <c:v>Jan Niezbedny Magnum Flex Draw Tape Unscented 60l 10ct (2.9%)</c:v>
                </c:pt>
                <c:pt idx="5">
                  <c:v>Jan Niezbedny T-Shirt Scented 35l 30ct (1.4%)</c:v>
                </c:pt>
                <c:pt idx="6">
                  <c:v>Stella Draw Tape Scented lavender Purple 35l 15ct (0.6%)</c:v>
                </c:pt>
                <c:pt idx="7">
                  <c:v>Stella Draw Tape Scented lavender Purple 60l 10ct (1.1%)</c:v>
                </c:pt>
                <c:pt idx="8">
                  <c:v>Jan Niezbedny Magnum Flex Draw Tape Scented lavender 60l 8ct (0.8%)</c:v>
                </c:pt>
                <c:pt idx="9">
                  <c:v>Stella Wave Top Scented lavender Purple 60l 16ct (1.7%)</c:v>
                </c:pt>
              </c:strCache>
            </c:strRef>
          </c:cat>
          <c:val>
            <c:numRef>
              <c:f>Sheet1!$B$2:$B$11</c:f>
              <c:numCache>
                <c:formatCode>General</c:formatCode>
                <c:ptCount val="10"/>
                <c:pt idx="0">
                  <c:v>0.12973369149519853</c:v>
                </c:pt>
                <c:pt idx="1">
                  <c:v>0.08353666024158762</c:v>
                </c:pt>
                <c:pt idx="2">
                  <c:v>0.062177251611580456</c:v>
                </c:pt>
                <c:pt idx="3">
                  <c:v>0.0317130738905751</c:v>
                </c:pt>
                <c:pt idx="4">
                  <c:v>0.029996924756886676</c:v>
                </c:pt>
                <c:pt idx="5">
                  <c:v>0.029881859140088937</c:v>
                </c:pt>
                <c:pt idx="6">
                  <c:v>0.023446190443005416</c:v>
                </c:pt>
                <c:pt idx="7">
                  <c:v>0.02341954766165637</c:v>
                </c:pt>
                <c:pt idx="8">
                  <c:v>0.020822538211884994</c:v>
                </c:pt>
                <c:pt idx="9">
                  <c:v>0.0190006167133876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Magnum Flex Draw Tape Unscented 35l 15ct (3.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35l 36ct (3.3%)</c:v>
                </c:pt>
                <c:pt idx="1">
                  <c:v>Jan Niezbedny Magnum Flex Draw Tape Unscented 60l 10ct (2.9%)</c:v>
                </c:pt>
                <c:pt idx="2">
                  <c:v>Stella Wave Top Scented lavender Purple 35l 24ct (1.9%)</c:v>
                </c:pt>
                <c:pt idx="3">
                  <c:v>Stella Wave Top Unscented 35l 30ct (3.6%)</c:v>
                </c:pt>
                <c:pt idx="4">
                  <c:v>Jan Niezbedny T-Shirt Scented 35l 30ct (1.4%)</c:v>
                </c:pt>
                <c:pt idx="5">
                  <c:v>Anna Zaradna Flat Top Unscented 35l 15ct (0.9%)</c:v>
                </c:pt>
                <c:pt idx="6">
                  <c:v>Jan Niezbedny Wave Top Unscented Blue 60l 20ct (2.6%)</c:v>
                </c:pt>
                <c:pt idx="7">
                  <c:v>Stella Wave Top Unscented 60l Durable 20ct (2.9%)</c:v>
                </c:pt>
                <c:pt idx="8">
                  <c:v>Jan Niezbedny Magnum Flex Draw Tape Scented lavender 35l 12ct (0.6%)</c:v>
                </c:pt>
                <c:pt idx="9">
                  <c:v>Stella Wave Top Unscented 35l 4x10ct (1.3%)</c:v>
                </c:pt>
              </c:strCache>
            </c:strRef>
          </c:cat>
          <c:val>
            <c:numRef>
              <c:f>Sheet1!$B$2:$B$11</c:f>
              <c:numCache>
                <c:formatCode>General</c:formatCode>
                <c:ptCount val="10"/>
                <c:pt idx="0">
                  <c:v>0.06396871922586171</c:v>
                </c:pt>
                <c:pt idx="1">
                  <c:v>0.04345774117883766</c:v>
                </c:pt>
                <c:pt idx="2">
                  <c:v>0.038590584547624526</c:v>
                </c:pt>
                <c:pt idx="3">
                  <c:v>0.03296882780262631</c:v>
                </c:pt>
                <c:pt idx="4">
                  <c:v>0.03025964455219943</c:v>
                </c:pt>
                <c:pt idx="5">
                  <c:v>0.02597729063733576</c:v>
                </c:pt>
                <c:pt idx="6">
                  <c:v>0.02465117035340488</c:v>
                </c:pt>
                <c:pt idx="7">
                  <c:v>0.023439390197027572</c:v>
                </c:pt>
                <c:pt idx="8">
                  <c:v>0.016961806969619308</c:v>
                </c:pt>
                <c:pt idx="9">
                  <c:v>0.01498722759857158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Magnum Flex Draw Tape Unscented 35l 15ct (3.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35l 36ct (3.3%)</c:v>
                </c:pt>
                <c:pt idx="1">
                  <c:v>Jan Niezbedny Magnum Flex Draw Tape Unscented 60l 10ct (2.9%)</c:v>
                </c:pt>
                <c:pt idx="2">
                  <c:v>Stella Wave Top Scented lavender Purple 35l 24ct (1.9%)</c:v>
                </c:pt>
                <c:pt idx="3">
                  <c:v>Jan Niezbedny Magnum Flex Draw Tape Scented lavender 35l 12ct (0.6%)</c:v>
                </c:pt>
                <c:pt idx="4">
                  <c:v>Jan Niezbedny T-Shirt Scented 35l 30ct (1.4%)</c:v>
                </c:pt>
                <c:pt idx="5">
                  <c:v>Anna Zaradna Flat Top Unscented 35l 15ct (0.9%)</c:v>
                </c:pt>
                <c:pt idx="6">
                  <c:v>Stella Wave Top Unscented 35l 30ct (3.6%)</c:v>
                </c:pt>
                <c:pt idx="7">
                  <c:v>Stella Wave Top Unscented 60l Durable 20ct (2.9%)</c:v>
                </c:pt>
                <c:pt idx="8">
                  <c:v>Jan Niezbedny Wave Top Unscented Blue 60l 20ct (2.6%)</c:v>
                </c:pt>
                <c:pt idx="9">
                  <c:v>Stella Wave Top Unscented 35l 4x10ct (1.3%)</c:v>
                </c:pt>
              </c:strCache>
            </c:strRef>
          </c:cat>
          <c:val>
            <c:numRef>
              <c:f>Sheet1!$B$2:$B$11</c:f>
              <c:numCache>
                <c:formatCode>General</c:formatCode>
                <c:ptCount val="10"/>
                <c:pt idx="0">
                  <c:v>0.09593607236478181</c:v>
                </c:pt>
                <c:pt idx="1">
                  <c:v>0.07050116268024081</c:v>
                </c:pt>
                <c:pt idx="2">
                  <c:v>0.04464552536700972</c:v>
                </c:pt>
                <c:pt idx="3">
                  <c:v>0.041017561891721496</c:v>
                </c:pt>
                <c:pt idx="4">
                  <c:v>0.03253438198711368</c:v>
                </c:pt>
                <c:pt idx="5">
                  <c:v>0.030767562627755932</c:v>
                </c:pt>
                <c:pt idx="6">
                  <c:v>0.030459689739275906</c:v>
                </c:pt>
                <c:pt idx="7">
                  <c:v>0.021642461110055893</c:v>
                </c:pt>
                <c:pt idx="8">
                  <c:v>0.019078389170131833</c:v>
                </c:pt>
                <c:pt idx="9">
                  <c:v>0.01400938567021973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ędny Elastic draw tape 35l 12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Jan Niezbedny Wave Top Unscented Blue 35l 36ct (3.3%)</c:v>
                </c:pt>
                <c:pt idx="2">
                  <c:v>Jan Niezbedny Magnum Flex Draw Tape Unscented 60l 10ct (2.9%)</c:v>
                </c:pt>
                <c:pt idx="3">
                  <c:v>Stella Wave Top Unscented 35l 30ct (3.6%)</c:v>
                </c:pt>
                <c:pt idx="4">
                  <c:v>Jan Niezbedny Wave Top Unscented Blue 60l 20ct (2.6%)</c:v>
                </c:pt>
                <c:pt idx="5">
                  <c:v>Jan Niezbedny T-Shirt Scented 35l 30ct (1.4%)</c:v>
                </c:pt>
                <c:pt idx="6">
                  <c:v>Stella Wave Top Scented lavender Purple 35l 24ct (1.9%)</c:v>
                </c:pt>
                <c:pt idx="7">
                  <c:v>Anna Zaradna Flat Top Unscented 35l 15ct (0.9%)</c:v>
                </c:pt>
                <c:pt idx="8">
                  <c:v>Stella Wave Top Unscented 60l Durable 20ct (2.9%)</c:v>
                </c:pt>
                <c:pt idx="9">
                  <c:v>Jan Niezbedny T-Shirt Scented Purple 60l 20ct (1.6%)</c:v>
                </c:pt>
              </c:strCache>
            </c:strRef>
          </c:cat>
          <c:val>
            <c:numRef>
              <c:f>Sheet1!$B$2:$B$11</c:f>
              <c:numCache>
                <c:formatCode>General</c:formatCode>
                <c:ptCount val="10"/>
                <c:pt idx="0">
                  <c:v>0.12113549972452071</c:v>
                </c:pt>
                <c:pt idx="1">
                  <c:v>0.06266288284852056</c:v>
                </c:pt>
                <c:pt idx="2">
                  <c:v>0.0590903407597771</c:v>
                </c:pt>
                <c:pt idx="3">
                  <c:v>0.03343455926577382</c:v>
                </c:pt>
                <c:pt idx="4">
                  <c:v>0.029929409842414618</c:v>
                </c:pt>
                <c:pt idx="5">
                  <c:v>0.02624192551950139</c:v>
                </c:pt>
                <c:pt idx="6">
                  <c:v>0.02568472242263827</c:v>
                </c:pt>
                <c:pt idx="7">
                  <c:v>0.020911101866760148</c:v>
                </c:pt>
                <c:pt idx="8">
                  <c:v>0.015920073931127526</c:v>
                </c:pt>
                <c:pt idx="9">
                  <c:v>0.0135280368454777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ędny Elastic draw tape 35l 12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Jan Niezbedny Wave Top Unscented Blue 35l 36ct (3.3%)</c:v>
                </c:pt>
                <c:pt idx="2">
                  <c:v>Jan Niezbedny Magnum Flex Draw Tape Unscented 60l 10ct (2.9%)</c:v>
                </c:pt>
                <c:pt idx="3">
                  <c:v>Stella Wave Top Scented lavender Purple 35l 24ct (1.9%)</c:v>
                </c:pt>
                <c:pt idx="4">
                  <c:v>Stella Wave Top Unscented 35l 30ct (3.6%)</c:v>
                </c:pt>
                <c:pt idx="5">
                  <c:v>Jan Niezbedny Magnum Flex Draw Tape Scented lavender 35l 12ct (0.6%)</c:v>
                </c:pt>
                <c:pt idx="6">
                  <c:v>Jan Niezbedny T-Shirt Scented 35l 30ct (1.4%)</c:v>
                </c:pt>
                <c:pt idx="7">
                  <c:v>Jan Niezbedny Wave Top Unscented Blue 60l 20ct (2.6%)</c:v>
                </c:pt>
                <c:pt idx="8">
                  <c:v>Anna Zaradna Flat Top Unscented 35l 15ct (0.9%)</c:v>
                </c:pt>
                <c:pt idx="9">
                  <c:v>Stella Wave Top Unscented 60l Durable 20ct (2.9%)</c:v>
                </c:pt>
              </c:strCache>
            </c:strRef>
          </c:cat>
          <c:val>
            <c:numRef>
              <c:f>Sheet1!$B$2:$B$11</c:f>
              <c:numCache>
                <c:formatCode>General</c:formatCode>
                <c:ptCount val="10"/>
                <c:pt idx="0">
                  <c:v>0.20914393485193178</c:v>
                </c:pt>
                <c:pt idx="1">
                  <c:v>0.07581680788414809</c:v>
                </c:pt>
                <c:pt idx="2">
                  <c:v>0.0757062542405455</c:v>
                </c:pt>
                <c:pt idx="3">
                  <c:v>0.03443154150409056</c:v>
                </c:pt>
                <c:pt idx="4">
                  <c:v>0.02869649981323943</c:v>
                </c:pt>
                <c:pt idx="5">
                  <c:v>0.026144014718326433</c:v>
                </c:pt>
                <c:pt idx="6">
                  <c:v>0.02470027934576241</c:v>
                </c:pt>
                <c:pt idx="7">
                  <c:v>0.022626220849954137</c:v>
                </c:pt>
                <c:pt idx="8">
                  <c:v>0.02252193063413931</c:v>
                </c:pt>
                <c:pt idx="9">
                  <c:v>0.01372286860324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ędny Magnum Flex Odor Lock 60l 10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Magnum Flex Draw Tape Unscented 35l 15ct (3.7%)</c:v>
                </c:pt>
                <c:pt idx="2">
                  <c:v>Jan Niezbedny Wave Top Unscented Blue 60l 20ct (2.6%)</c:v>
                </c:pt>
                <c:pt idx="3">
                  <c:v>Stella Wave Top Unscented 60l Durable 20ct (2.9%)</c:v>
                </c:pt>
                <c:pt idx="4">
                  <c:v>Jan Niezbedny Wave Top Unscented Blue 35l 36ct (3.3%)</c:v>
                </c:pt>
                <c:pt idx="5">
                  <c:v>Jan Niezbedny T-Shirt Scented Purple 60l 20ct (1.6%)</c:v>
                </c:pt>
                <c:pt idx="6">
                  <c:v>Stella Wave Top Scented lavender Purple 60l 16ct (1.7%)</c:v>
                </c:pt>
                <c:pt idx="7">
                  <c:v>Jan Niezbedny Magnum Flex Draw Tape Scented lavender 60l 8ct (0.8%)</c:v>
                </c:pt>
                <c:pt idx="8">
                  <c:v>Stella Wave Top Scented lavender Purple 35l 24ct (1.9%)</c:v>
                </c:pt>
                <c:pt idx="9">
                  <c:v>Jan Niezbedny T-Shirt Scented 35l 30ct (1.4%)</c:v>
                </c:pt>
              </c:strCache>
            </c:strRef>
          </c:cat>
          <c:val>
            <c:numRef>
              <c:f>Sheet1!$B$2:$B$11</c:f>
              <c:numCache>
                <c:formatCode>General</c:formatCode>
                <c:ptCount val="10"/>
                <c:pt idx="0">
                  <c:v>0.11980313829164815</c:v>
                </c:pt>
                <c:pt idx="1">
                  <c:v>0.06535860778911921</c:v>
                </c:pt>
                <c:pt idx="2">
                  <c:v>0.04803079065419908</c:v>
                </c:pt>
                <c:pt idx="3">
                  <c:v>0.04577816781184626</c:v>
                </c:pt>
                <c:pt idx="4">
                  <c:v>0.030482310840939497</c:v>
                </c:pt>
                <c:pt idx="5">
                  <c:v>0.02824888463311555</c:v>
                </c:pt>
                <c:pt idx="6">
                  <c:v>0.021383956558367882</c:v>
                </c:pt>
                <c:pt idx="7">
                  <c:v>0.017793682541973128</c:v>
                </c:pt>
                <c:pt idx="8">
                  <c:v>0.014378996709909567</c:v>
                </c:pt>
                <c:pt idx="9">
                  <c:v>0.0137726337124798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ędny Magnum Flex Odor Lock 60l 10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Magnum Flex Draw Tape Unscented 35l 15ct (3.7%)</c:v>
                </c:pt>
                <c:pt idx="2">
                  <c:v>Jan Niezbedny Wave Top Unscented Blue 60l 20ct (2.6%)</c:v>
                </c:pt>
                <c:pt idx="3">
                  <c:v>Stella Wave Top Unscented 60l Durable 20ct (2.9%)</c:v>
                </c:pt>
                <c:pt idx="4">
                  <c:v>Jan Niezbedny Wave Top Unscented Blue 35l 36ct (3.3%)</c:v>
                </c:pt>
                <c:pt idx="5">
                  <c:v>Jan Niezbedny T-Shirt Scented Purple 60l 20ct (1.6%)</c:v>
                </c:pt>
                <c:pt idx="6">
                  <c:v>Stella Wave Top Scented lavender Purple 60l 16ct (1.7%)</c:v>
                </c:pt>
                <c:pt idx="7">
                  <c:v>Jan Niezbedny Magnum Flex Draw Tape Scented lavender 60l 8ct (0.8%)</c:v>
                </c:pt>
                <c:pt idx="8">
                  <c:v>Anna Zaradna Flat Top Unscented 60l 10ct (0.7%)</c:v>
                </c:pt>
                <c:pt idx="9">
                  <c:v>Jan Niezbedny T-Shirt Scented 35l 30ct (1.4%)</c:v>
                </c:pt>
              </c:strCache>
            </c:strRef>
          </c:cat>
          <c:val>
            <c:numRef>
              <c:f>Sheet1!$B$2:$B$11</c:f>
              <c:numCache>
                <c:formatCode>General</c:formatCode>
                <c:ptCount val="10"/>
                <c:pt idx="0">
                  <c:v>0.18428764708371273</c:v>
                </c:pt>
                <c:pt idx="1">
                  <c:v>0.07338607907435303</c:v>
                </c:pt>
                <c:pt idx="2">
                  <c:v>0.0574722076713158</c:v>
                </c:pt>
                <c:pt idx="3">
                  <c:v>0.05047895381782357</c:v>
                </c:pt>
                <c:pt idx="4">
                  <c:v>0.030265414691129127</c:v>
                </c:pt>
                <c:pt idx="5">
                  <c:v>0.023834673113806118</c:v>
                </c:pt>
                <c:pt idx="6">
                  <c:v>0.018092073989316636</c:v>
                </c:pt>
                <c:pt idx="7">
                  <c:v>0.016113842819853785</c:v>
                </c:pt>
                <c:pt idx="8">
                  <c:v>0.013079629564814742</c:v>
                </c:pt>
                <c:pt idx="9">
                  <c:v>0.0119885621263820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Magnum Flex Draw Tape Scented lavender 60l 8ct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T-Shirt Scented Purple 60l 20ct (1.6%)</c:v>
                </c:pt>
                <c:pt idx="1">
                  <c:v>Stella Wave Top Scented lavender Purple 60l 16ct (1.7%)</c:v>
                </c:pt>
                <c:pt idx="2">
                  <c:v>Stella Wave Top Unscented 60l Durable 20ct (2.9%)</c:v>
                </c:pt>
                <c:pt idx="3">
                  <c:v>Jan Niezbedny Wave Top Unscented Blue 60l 20ct (2.6%)</c:v>
                </c:pt>
                <c:pt idx="4">
                  <c:v>Jan Niezbedny Magnum Flex Draw Tape Unscented 60l 10ct (2.9%)</c:v>
                </c:pt>
                <c:pt idx="5">
                  <c:v>Stella Draw Tape Scented lavender Purple 60l 10ct (1.1%)</c:v>
                </c:pt>
                <c:pt idx="6">
                  <c:v>Stella Wave Top Scented lavender Purple 35l 24ct (1.9%)</c:v>
                </c:pt>
                <c:pt idx="7">
                  <c:v>Jan Niezbedny Magnum Flex Draw Tape Unscented 35l 15ct (3.7%)</c:v>
                </c:pt>
                <c:pt idx="8">
                  <c:v>Stella Wave Top Unscented 35l 4x10ct (1.3%)</c:v>
                </c:pt>
                <c:pt idx="9">
                  <c:v>Stella Draw Tape Scented Vanilla Latte 60l 10ct (0.7%)</c:v>
                </c:pt>
              </c:strCache>
            </c:strRef>
          </c:cat>
          <c:val>
            <c:numRef>
              <c:f>Sheet1!$B$2:$B$11</c:f>
              <c:numCache>
                <c:formatCode>General</c:formatCode>
                <c:ptCount val="10"/>
                <c:pt idx="0">
                  <c:v>0.06756089350966119</c:v>
                </c:pt>
                <c:pt idx="1">
                  <c:v>0.05344289810206234</c:v>
                </c:pt>
                <c:pt idx="2">
                  <c:v>0.05294686240172666</c:v>
                </c:pt>
                <c:pt idx="3">
                  <c:v>0.051403052025822515</c:v>
                </c:pt>
                <c:pt idx="4">
                  <c:v>0.046486476178488494</c:v>
                </c:pt>
                <c:pt idx="5">
                  <c:v>0.037441668535982235</c:v>
                </c:pt>
                <c:pt idx="6">
                  <c:v>0.02137935160940939</c:v>
                </c:pt>
                <c:pt idx="7">
                  <c:v>0.020311358288378448</c:v>
                </c:pt>
                <c:pt idx="8">
                  <c:v>0.015968807304763324</c:v>
                </c:pt>
                <c:pt idx="9">
                  <c:v>0.01440720678297802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Magnum Flex Draw Tape Scented lavender 60l 8ct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T-Shirt Scented Purple 60l 20ct (1.6%)</c:v>
                </c:pt>
                <c:pt idx="1">
                  <c:v>Stella Wave Top Scented lavender Purple 60l 16ct (1.7%)</c:v>
                </c:pt>
                <c:pt idx="2">
                  <c:v>Jan Niezbedny Magnum Flex Draw Tape Unscented 60l 10ct (2.9%)</c:v>
                </c:pt>
                <c:pt idx="3">
                  <c:v>Stella Draw Tape Scented lavender Purple 60l 10ct (1.1%)</c:v>
                </c:pt>
                <c:pt idx="4">
                  <c:v>Stella Wave Top Unscented 60l Durable 20ct (2.9%)</c:v>
                </c:pt>
                <c:pt idx="5">
                  <c:v>Jan Niezbedny Wave Top Unscented Blue 60l 20ct (2.6%)</c:v>
                </c:pt>
                <c:pt idx="6">
                  <c:v>Jan Niezbedny Magnum Flex Draw Tape Unscented 35l 15ct (3.7%)</c:v>
                </c:pt>
                <c:pt idx="7">
                  <c:v>Stella Wave Top Scented lavender Purple 35l 24ct (1.9%)</c:v>
                </c:pt>
                <c:pt idx="8">
                  <c:v>Stella Draw Tape Scented lavender Purple 35l 15ct (0.6%)</c:v>
                </c:pt>
                <c:pt idx="9">
                  <c:v>Stella Draw Tape Scented Vanilla Latte 60l 10ct (0.7%)</c:v>
                </c:pt>
              </c:strCache>
            </c:strRef>
          </c:cat>
          <c:val>
            <c:numRef>
              <c:f>Sheet1!$B$2:$B$11</c:f>
              <c:numCache>
                <c:formatCode>General</c:formatCode>
                <c:ptCount val="10"/>
                <c:pt idx="0">
                  <c:v>0.0691166790689025</c:v>
                </c:pt>
                <c:pt idx="1">
                  <c:v>0.06711294258894641</c:v>
                </c:pt>
                <c:pt idx="2">
                  <c:v>0.05866628607625075</c:v>
                </c:pt>
                <c:pt idx="3">
                  <c:v>0.057402089366913225</c:v>
                </c:pt>
                <c:pt idx="4">
                  <c:v>0.04708974115412168</c:v>
                </c:pt>
                <c:pt idx="5">
                  <c:v>0.038337325513154864</c:v>
                </c:pt>
                <c:pt idx="6">
                  <c:v>0.03149868915988241</c:v>
                </c:pt>
                <c:pt idx="7">
                  <c:v>0.02876987841272551</c:v>
                </c:pt>
                <c:pt idx="8">
                  <c:v>0.021934418521850973</c:v>
                </c:pt>
                <c:pt idx="9">
                  <c:v>0.0186812534688093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Jan Niezbed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c:f>
              <c:numCache>
                <c:formatCode>General</c:formatCode>
                <c:ptCount val="1"/>
                <c:pt idx="0">
                  <c:v>-1.9418337019725975</c:v>
                </c:pt>
              </c:numCache>
            </c:numRef>
          </c:xVal>
          <c:yVal>
            <c:numRef>
              <c:f>Sheet1!$B$2:$B$2</c:f>
              <c:numCache>
                <c:formatCode>General</c:formatCode>
                <c:ptCount val="1"/>
                <c:pt idx="0">
                  <c:v>-1.596163188094073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Magnum Flex Draw Tape Unscented 60l 10ct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Stella Wave Top Unscented 60l Durable 20ct (2.9%)</c:v>
                </c:pt>
                <c:pt idx="2">
                  <c:v>Jan Niezbedny Magnum Flex Draw Tape Unscented 35l 15ct (3.7%)</c:v>
                </c:pt>
                <c:pt idx="3">
                  <c:v>Jan Niezbedny Wave Top Unscented Blue 35l 36ct (3.3%)</c:v>
                </c:pt>
                <c:pt idx="4">
                  <c:v>Jan Niezbedny T-Shirt Scented Purple 60l 20ct (1.6%)</c:v>
                </c:pt>
                <c:pt idx="5">
                  <c:v>Stella Wave Top Scented lavender Purple 60l 16ct (1.7%)</c:v>
                </c:pt>
                <c:pt idx="6">
                  <c:v>Anna Zaradna Flat Top Unscented 60l 10ct (0.7%)</c:v>
                </c:pt>
                <c:pt idx="7">
                  <c:v>Jan Niezbedny Magnum Flex Draw Tape Scented lavender 60l 8ct (0.8%)</c:v>
                </c:pt>
                <c:pt idx="8">
                  <c:v>Stella Wave Top Scented Vanilla latte Beige 60l 16ct (0.8%)</c:v>
                </c:pt>
                <c:pt idx="9">
                  <c:v>Anna Zaradna Flat Top Unscented 120l 10ct (0.4%)</c:v>
                </c:pt>
              </c:strCache>
            </c:strRef>
          </c:cat>
          <c:val>
            <c:numRef>
              <c:f>Sheet1!$B$2:$B$11</c:f>
              <c:numCache>
                <c:formatCode>General</c:formatCode>
                <c:ptCount val="10"/>
                <c:pt idx="0">
                  <c:v>0.07888060084667838</c:v>
                </c:pt>
                <c:pt idx="1">
                  <c:v>0.059803728322015214</c:v>
                </c:pt>
                <c:pt idx="2">
                  <c:v>0.0503459479471319</c:v>
                </c:pt>
                <c:pt idx="3">
                  <c:v>0.03253680364610828</c:v>
                </c:pt>
                <c:pt idx="4">
                  <c:v>0.03138769266064818</c:v>
                </c:pt>
                <c:pt idx="5">
                  <c:v>0.023645985467458833</c:v>
                </c:pt>
                <c:pt idx="6">
                  <c:v>0.019816035326058464</c:v>
                </c:pt>
                <c:pt idx="7">
                  <c:v>0.018928047889225353</c:v>
                </c:pt>
                <c:pt idx="8">
                  <c:v>0.011144939030415862</c:v>
                </c:pt>
                <c:pt idx="9">
                  <c:v>0.01107787652383826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Magnum Flex Draw Tape Unscented 60l 10ct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Jan Niezbedny Wave Top Unscented Blue 60l 20ct (2.6%)</c:v>
                </c:pt>
                <c:pt idx="2">
                  <c:v>Stella Wave Top Unscented 60l Durable 20ct (2.9%)</c:v>
                </c:pt>
                <c:pt idx="3">
                  <c:v>Jan Niezbedny Wave Top Unscented Blue 35l 36ct (3.3%)</c:v>
                </c:pt>
                <c:pt idx="4">
                  <c:v>Stella Wave Top Scented lavender Purple 60l 16ct (1.7%)</c:v>
                </c:pt>
                <c:pt idx="5">
                  <c:v>Jan Niezbedny Magnum Flex Draw Tape Scented lavender 60l 8ct (0.8%)</c:v>
                </c:pt>
                <c:pt idx="6">
                  <c:v>Jan Niezbedny T-Shirt Scented Purple 60l 20ct (1.6%)</c:v>
                </c:pt>
                <c:pt idx="7">
                  <c:v>Jan Niezbedny Draw Tape Unscented 60l 40ct (0.3%)</c:v>
                </c:pt>
                <c:pt idx="8">
                  <c:v>Stella Draw Tape Scented lavender Purple 60l 10ct (1.1%)</c:v>
                </c:pt>
                <c:pt idx="9">
                  <c:v>Jan Niezbedny Flat Top Unscented 240l 8ct (0.4%)</c:v>
                </c:pt>
              </c:strCache>
            </c:strRef>
          </c:cat>
          <c:val>
            <c:numRef>
              <c:f>Sheet1!$B$2:$B$11</c:f>
              <c:numCache>
                <c:formatCode>General</c:formatCode>
                <c:ptCount val="10"/>
                <c:pt idx="0">
                  <c:v>0.10369356280702295</c:v>
                </c:pt>
                <c:pt idx="1">
                  <c:v>0.05988837142466841</c:v>
                </c:pt>
                <c:pt idx="2">
                  <c:v>0.057801662341580205</c:v>
                </c:pt>
                <c:pt idx="3">
                  <c:v>0.047916774338494464</c:v>
                </c:pt>
                <c:pt idx="4">
                  <c:v>0.030938299478987574</c:v>
                </c:pt>
                <c:pt idx="5">
                  <c:v>0.029734920884438017</c:v>
                </c:pt>
                <c:pt idx="6">
                  <c:v>0.029427506113593717</c:v>
                </c:pt>
                <c:pt idx="7">
                  <c:v>0.017488468754154322</c:v>
                </c:pt>
                <c:pt idx="8">
                  <c:v>0.01704696752262063</c:v>
                </c:pt>
                <c:pt idx="9">
                  <c:v>0.0167523723592370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Magnum Flex Draw Tape Unscented 60l 3x10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Wave Top Unscented Blue 60l 20ct (2.6%)</c:v>
                </c:pt>
                <c:pt idx="2">
                  <c:v>Stella Wave Top Unscented 60l Durable 20ct (2.9%)</c:v>
                </c:pt>
                <c:pt idx="3">
                  <c:v>Jan Niezbedny Magnum Flex Draw Tape Unscented 35l 15ct (3.7%)</c:v>
                </c:pt>
                <c:pt idx="4">
                  <c:v>Jan Niezbedny T-Shirt Scented Purple 60l 20ct (1.6%)</c:v>
                </c:pt>
                <c:pt idx="5">
                  <c:v>Stella Wave Top Scented lavender Purple 60l 16ct (1.7%)</c:v>
                </c:pt>
                <c:pt idx="6">
                  <c:v>Jan Niezbedny Magnum Flex Draw Tape Scented lavender 60l 8ct (0.8%)</c:v>
                </c:pt>
                <c:pt idx="7">
                  <c:v>Jan Niezbedny Wave Top Unscented Blue 35l 36ct (3.3%)</c:v>
                </c:pt>
                <c:pt idx="8">
                  <c:v>Anna Zaradna Flat Top Unscented 60l 10ct (0.7%)</c:v>
                </c:pt>
                <c:pt idx="9">
                  <c:v>Stella Draw Tape Scented lavender Purple 60l 10ct (1.1%)</c:v>
                </c:pt>
              </c:strCache>
            </c:strRef>
          </c:cat>
          <c:val>
            <c:numRef>
              <c:f>Sheet1!$B$2:$B$11</c:f>
              <c:numCache>
                <c:formatCode>General</c:formatCode>
                <c:ptCount val="10"/>
                <c:pt idx="0">
                  <c:v>0.13842201914196586</c:v>
                </c:pt>
                <c:pt idx="1">
                  <c:v>0.06711888630551396</c:v>
                </c:pt>
                <c:pt idx="2">
                  <c:v>0.06002836817721114</c:v>
                </c:pt>
                <c:pt idx="3">
                  <c:v>0.054254905892389634</c:v>
                </c:pt>
                <c:pt idx="4">
                  <c:v>0.03595052049018956</c:v>
                </c:pt>
                <c:pt idx="5">
                  <c:v>0.026794746233649917</c:v>
                </c:pt>
                <c:pt idx="6">
                  <c:v>0.020638270159805846</c:v>
                </c:pt>
                <c:pt idx="7">
                  <c:v>0.018185875068751328</c:v>
                </c:pt>
                <c:pt idx="8">
                  <c:v>0.01598961634758696</c:v>
                </c:pt>
                <c:pt idx="9">
                  <c:v>0.0144720281267556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Magnum Flex Draw Tape Unscented 60l 3x10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Magnum Flex Draw Tape Unscented 35l 15ct (3.7%)</c:v>
                </c:pt>
                <c:pt idx="2">
                  <c:v>Stella Wave Top Unscented 60l Durable 20ct (2.9%)</c:v>
                </c:pt>
                <c:pt idx="3">
                  <c:v>Jan Niezbedny Wave Top Unscented Blue 60l 20ct (2.6%)</c:v>
                </c:pt>
                <c:pt idx="4">
                  <c:v>Jan Niezbedny T-Shirt Scented Purple 60l 20ct (1.6%)</c:v>
                </c:pt>
                <c:pt idx="5">
                  <c:v>Jan Niezbedny Wave Top Unscented Blue 35l 36ct (3.3%)</c:v>
                </c:pt>
                <c:pt idx="6">
                  <c:v>Stella Wave Top Scented lavender Purple 60l 16ct (1.7%)</c:v>
                </c:pt>
                <c:pt idx="7">
                  <c:v>Stella Wave Top Unscented 35l 30ct (3.6%)</c:v>
                </c:pt>
                <c:pt idx="8">
                  <c:v>Jan Niezbedny Magnum Flex Draw Tape Scented lavender 60l 8ct (0.8%)</c:v>
                </c:pt>
                <c:pt idx="9">
                  <c:v>Anna Zaradna Flat Top Unscented 60l 10ct (0.7%)</c:v>
                </c:pt>
              </c:strCache>
            </c:strRef>
          </c:cat>
          <c:val>
            <c:numRef>
              <c:f>Sheet1!$B$2:$B$11</c:f>
              <c:numCache>
                <c:formatCode>General</c:formatCode>
                <c:ptCount val="10"/>
                <c:pt idx="0">
                  <c:v>0.1022988381720218</c:v>
                </c:pt>
                <c:pt idx="1">
                  <c:v>0.07099847411958222</c:v>
                </c:pt>
                <c:pt idx="2">
                  <c:v>0.05121660563936471</c:v>
                </c:pt>
                <c:pt idx="3">
                  <c:v>0.047279163397621345</c:v>
                </c:pt>
                <c:pt idx="4">
                  <c:v>0.028747691489406375</c:v>
                </c:pt>
                <c:pt idx="5">
                  <c:v>0.022806047258367036</c:v>
                </c:pt>
                <c:pt idx="6">
                  <c:v>0.02108180129834444</c:v>
                </c:pt>
                <c:pt idx="7">
                  <c:v>0.015422550293840081</c:v>
                </c:pt>
                <c:pt idx="8">
                  <c:v>0.015015174199946456</c:v>
                </c:pt>
                <c:pt idx="9">
                  <c:v>0.014812656511228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Draw Tape Unscented 60l 40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Stella Wave Top Unscented 60l Durable 20ct (2.9%)</c:v>
                </c:pt>
                <c:pt idx="2">
                  <c:v>Jan Niezbedny Magnum Flex Draw Tape Unscented 35l 15ct (3.7%)</c:v>
                </c:pt>
                <c:pt idx="3">
                  <c:v>Stella Wave Top Scented lavender Purple 60l 16ct (1.7%)</c:v>
                </c:pt>
                <c:pt idx="4">
                  <c:v>Jan Niezbedny Wave Top Unscented Blue 60l 20ct (2.6%)</c:v>
                </c:pt>
                <c:pt idx="5">
                  <c:v>Jan Niezbedny Wave Top Unscented Blue 35l 36ct (3.3%)</c:v>
                </c:pt>
                <c:pt idx="6">
                  <c:v>Anna Zaradna Flat Top Unscented 60l 10ct (0.7%)</c:v>
                </c:pt>
                <c:pt idx="7">
                  <c:v>Stella Wave Top Scented Vanilla latte Beige 60l 16ct (0.8%)</c:v>
                </c:pt>
                <c:pt idx="8">
                  <c:v>Jan Niezbedny Magnum Flex Draw Tape Scented lavender 60l 8ct (0.8%)</c:v>
                </c:pt>
                <c:pt idx="9">
                  <c:v>Jan Niezbedny T-Shirt Scented Purple 60l 20ct (1.6%)</c:v>
                </c:pt>
              </c:strCache>
            </c:strRef>
          </c:cat>
          <c:val>
            <c:numRef>
              <c:f>Sheet1!$B$2:$B$11</c:f>
              <c:numCache>
                <c:formatCode>General</c:formatCode>
                <c:ptCount val="10"/>
                <c:pt idx="0">
                  <c:v>0.11799920296474514</c:v>
                </c:pt>
                <c:pt idx="1">
                  <c:v>0.06880030218049583</c:v>
                </c:pt>
                <c:pt idx="2">
                  <c:v>0.04582348526579847</c:v>
                </c:pt>
                <c:pt idx="3">
                  <c:v>0.041207255458194716</c:v>
                </c:pt>
                <c:pt idx="4">
                  <c:v>0.039067513439079576</c:v>
                </c:pt>
                <c:pt idx="5">
                  <c:v>0.029799492111839493</c:v>
                </c:pt>
                <c:pt idx="6">
                  <c:v>0.019946604282359073</c:v>
                </c:pt>
                <c:pt idx="7">
                  <c:v>0.019220357597000467</c:v>
                </c:pt>
                <c:pt idx="8">
                  <c:v>0.017641240840287453</c:v>
                </c:pt>
                <c:pt idx="9">
                  <c:v>0.01664910676904883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Draw Tape Unscented 60l 40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Magnum Flex Draw Tape Unscented 35l 15ct (3.7%)</c:v>
                </c:pt>
                <c:pt idx="2">
                  <c:v>Stella Wave Top Unscented 60l Durable 20ct (2.9%)</c:v>
                </c:pt>
                <c:pt idx="3">
                  <c:v>Jan Niezbedny Wave Top Unscented Blue 60l 20ct (2.6%)</c:v>
                </c:pt>
                <c:pt idx="4">
                  <c:v>Stella Wave Top Scented lavender Purple 60l 16ct (1.7%)</c:v>
                </c:pt>
                <c:pt idx="5">
                  <c:v>Jan Niezbedny Wave Top Unscented Blue 35l 36ct (3.3%)</c:v>
                </c:pt>
                <c:pt idx="6">
                  <c:v>Anna Zaradna Flat Top Unscented 60l 10ct (0.7%)</c:v>
                </c:pt>
                <c:pt idx="7">
                  <c:v>Jan Niezbedny Magnum Flex Draw Tape Scented lavender 60l 8ct (0.8%)</c:v>
                </c:pt>
                <c:pt idx="8">
                  <c:v>Jan Niezbedny T-Shirt Scented Purple 60l 20ct (1.6%)</c:v>
                </c:pt>
                <c:pt idx="9">
                  <c:v>Stella Wave Top Scented Vanilla latte Beige 60l 16ct (0.8%)</c:v>
                </c:pt>
              </c:strCache>
            </c:strRef>
          </c:cat>
          <c:val>
            <c:numRef>
              <c:f>Sheet1!$B$2:$B$11</c:f>
              <c:numCache>
                <c:formatCode>General</c:formatCode>
                <c:ptCount val="10"/>
                <c:pt idx="0">
                  <c:v>0.1355606177482006</c:v>
                </c:pt>
                <c:pt idx="1">
                  <c:v>0.06406092552640998</c:v>
                </c:pt>
                <c:pt idx="2">
                  <c:v>0.06317795561417101</c:v>
                </c:pt>
                <c:pt idx="3">
                  <c:v>0.03724595832284256</c:v>
                </c:pt>
                <c:pt idx="4">
                  <c:v>0.03717200658454324</c:v>
                </c:pt>
                <c:pt idx="5">
                  <c:v>0.03463221491758811</c:v>
                </c:pt>
                <c:pt idx="6">
                  <c:v>0.019652509232682264</c:v>
                </c:pt>
                <c:pt idx="7">
                  <c:v>0.019395197646682242</c:v>
                </c:pt>
                <c:pt idx="8">
                  <c:v>0.016253553330497494</c:v>
                </c:pt>
                <c:pt idx="9">
                  <c:v>0.0159577299225989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ędny Elastic draw tape 60l 8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Wave Top Unscented Blue 60l 20ct (2.6%)</c:v>
                </c:pt>
                <c:pt idx="2">
                  <c:v>Stella Wave Top Unscented 60l Durable 20ct (2.9%)</c:v>
                </c:pt>
                <c:pt idx="3">
                  <c:v>Jan Niezbedny Magnum Flex Draw Tape Unscented 35l 15ct (3.7%)</c:v>
                </c:pt>
                <c:pt idx="4">
                  <c:v>Anna Zaradna Flat Top Unscented 60l 10ct (0.7%)</c:v>
                </c:pt>
                <c:pt idx="5">
                  <c:v>Jan Niezbedny T-Shirt Scented Purple 60l 20ct (1.6%)</c:v>
                </c:pt>
                <c:pt idx="6">
                  <c:v>Jan Niezbedny Wave Top Unscented Blue 35l 36ct (3.3%)</c:v>
                </c:pt>
                <c:pt idx="7">
                  <c:v>Stella Wave Top Scented lavender Purple 60l 16ct (1.7%)</c:v>
                </c:pt>
                <c:pt idx="8">
                  <c:v>Jan Niezbedny Magnum Flex Draw Tape Scented lavender 60l 8ct (0.8%)</c:v>
                </c:pt>
                <c:pt idx="9">
                  <c:v>Anna Zaradna Wave Top Scented Floral Blue 60l 10ct (0.3%)</c:v>
                </c:pt>
              </c:strCache>
            </c:strRef>
          </c:cat>
          <c:val>
            <c:numRef>
              <c:f>Sheet1!$B$2:$B$11</c:f>
              <c:numCache>
                <c:formatCode>General</c:formatCode>
                <c:ptCount val="10"/>
                <c:pt idx="0">
                  <c:v>0.08126324379240647</c:v>
                </c:pt>
                <c:pt idx="1">
                  <c:v>0.06717145672460788</c:v>
                </c:pt>
                <c:pt idx="2">
                  <c:v>0.05072878419019786</c:v>
                </c:pt>
                <c:pt idx="3">
                  <c:v>0.03153557044290824</c:v>
                </c:pt>
                <c:pt idx="4">
                  <c:v>0.027190121307795037</c:v>
                </c:pt>
                <c:pt idx="5">
                  <c:v>0.025918440129735768</c:v>
                </c:pt>
                <c:pt idx="6">
                  <c:v>0.021606463157713123</c:v>
                </c:pt>
                <c:pt idx="7">
                  <c:v>0.015444130736940209</c:v>
                </c:pt>
                <c:pt idx="8">
                  <c:v>0.013759670932379155</c:v>
                </c:pt>
                <c:pt idx="9">
                  <c:v>0.0119435638565032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ędny Elastic draw tape 60l 8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Magnum Flex Draw Tape Unscented 35l 15ct (3.7%)</c:v>
                </c:pt>
                <c:pt idx="2">
                  <c:v>Jan Niezbedny Wave Top Unscented Blue 60l 20ct (2.6%)</c:v>
                </c:pt>
                <c:pt idx="3">
                  <c:v>Stella Wave Top Unscented 60l Durable 20ct (2.9%)</c:v>
                </c:pt>
                <c:pt idx="4">
                  <c:v>Jan Niezbedny Wave Top Unscented Blue 35l 36ct (3.3%)</c:v>
                </c:pt>
                <c:pt idx="5">
                  <c:v>Jan Niezbedny T-Shirt Scented Purple 60l 20ct (1.6%)</c:v>
                </c:pt>
                <c:pt idx="6">
                  <c:v>Jan Niezbedny Magnum Flex Draw Tape Scented lavender 60l 8ct (0.8%)</c:v>
                </c:pt>
                <c:pt idx="7">
                  <c:v>Stella Wave Top Scented lavender Purple 60l 16ct (1.7%)</c:v>
                </c:pt>
                <c:pt idx="8">
                  <c:v>Stella Draw Tape Scented lavender Purple 60l 10ct (1.1%)</c:v>
                </c:pt>
                <c:pt idx="9">
                  <c:v>Anna Zaradna Flat Top Unscented 60l 10ct (0.7%)</c:v>
                </c:pt>
              </c:strCache>
            </c:strRef>
          </c:cat>
          <c:val>
            <c:numRef>
              <c:f>Sheet1!$B$2:$B$11</c:f>
              <c:numCache>
                <c:formatCode>General</c:formatCode>
                <c:ptCount val="10"/>
                <c:pt idx="0">
                  <c:v>0.11871165525059686</c:v>
                </c:pt>
                <c:pt idx="1">
                  <c:v>0.07174022052372639</c:v>
                </c:pt>
                <c:pt idx="2">
                  <c:v>0.04902902557676956</c:v>
                </c:pt>
                <c:pt idx="3">
                  <c:v>0.047916217360465876</c:v>
                </c:pt>
                <c:pt idx="4">
                  <c:v>0.030031364406367965</c:v>
                </c:pt>
                <c:pt idx="5">
                  <c:v>0.025247929372817744</c:v>
                </c:pt>
                <c:pt idx="6">
                  <c:v>0.0229787432183224</c:v>
                </c:pt>
                <c:pt idx="7">
                  <c:v>0.021758689974282572</c:v>
                </c:pt>
                <c:pt idx="8">
                  <c:v>0.020762453049378495</c:v>
                </c:pt>
                <c:pt idx="9">
                  <c:v>0.020606604606141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Magnum Flex Draw Tape Unscented 120l 8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Jan Niezbedny Magnum Flex Draw Tape Unscented 60l 10ct (2.9%)</c:v>
                </c:pt>
                <c:pt idx="2">
                  <c:v>Jan Niezbedny Wave Top Unscented Blue 35l 36ct (3.3%)</c:v>
                </c:pt>
                <c:pt idx="3">
                  <c:v>Jan Niezbedny Wave Top Unscented Blue 60l 20ct (2.6%)</c:v>
                </c:pt>
                <c:pt idx="4">
                  <c:v>Stella Wave Top Unscented 35l 30ct (3.6%)</c:v>
                </c:pt>
                <c:pt idx="5">
                  <c:v>Jan Niezbedny T-Shirt Scented 35l 30ct (1.4%)</c:v>
                </c:pt>
                <c:pt idx="6">
                  <c:v>Stella Wave Top Unscented 60l Durable 20ct (2.9%)</c:v>
                </c:pt>
                <c:pt idx="7">
                  <c:v>Stella Wave Top Scented lavender Purple 35l 24ct (1.9%)</c:v>
                </c:pt>
                <c:pt idx="8">
                  <c:v>Jan Niezbedny T-Shirt Scented Purple 60l 20ct (1.6%)</c:v>
                </c:pt>
                <c:pt idx="9">
                  <c:v>Stella Wave Top Scented lavender Purple 60l 16ct (1.7%)</c:v>
                </c:pt>
              </c:strCache>
            </c:strRef>
          </c:cat>
          <c:val>
            <c:numRef>
              <c:f>Sheet1!$B$2:$B$11</c:f>
              <c:numCache>
                <c:formatCode>General</c:formatCode>
                <c:ptCount val="10"/>
                <c:pt idx="0">
                  <c:v>0.08295819322330296</c:v>
                </c:pt>
                <c:pt idx="1">
                  <c:v>0.07078309365766204</c:v>
                </c:pt>
                <c:pt idx="2">
                  <c:v>0.04905845055453613</c:v>
                </c:pt>
                <c:pt idx="3">
                  <c:v>0.036226547119509955</c:v>
                </c:pt>
                <c:pt idx="4">
                  <c:v>0.02825051768889446</c:v>
                </c:pt>
                <c:pt idx="5">
                  <c:v>0.0272671046243305</c:v>
                </c:pt>
                <c:pt idx="6">
                  <c:v>0.027090063173608597</c:v>
                </c:pt>
                <c:pt idx="7">
                  <c:v>0.018930330832153338</c:v>
                </c:pt>
                <c:pt idx="8">
                  <c:v>0.017221379332904605</c:v>
                </c:pt>
                <c:pt idx="9">
                  <c:v>0.01715201927042149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Magnum Flex Draw Tape Unscented 120l 8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Magnum Flex Draw Tape Unscented 35l 15ct (3.7%)</c:v>
                </c:pt>
                <c:pt idx="2">
                  <c:v>Jan Niezbedny Wave Top Unscented Blue 60l 20ct (2.6%)</c:v>
                </c:pt>
                <c:pt idx="3">
                  <c:v>Jan Niezbedny Wave Top Unscented Blue 35l 36ct (3.3%)</c:v>
                </c:pt>
                <c:pt idx="4">
                  <c:v>Stella Wave Top Unscented 60l Durable 20ct (2.9%)</c:v>
                </c:pt>
                <c:pt idx="5">
                  <c:v>Jan Niezbedny T-Shirt Scented Purple 60l 20ct (1.6%)</c:v>
                </c:pt>
                <c:pt idx="6">
                  <c:v>Jan Niezbedny T-Shirt Scented 35l 30ct (1.4%)</c:v>
                </c:pt>
                <c:pt idx="7">
                  <c:v>Stella Wave Top Scented lavender Purple 60l 16ct (1.7%)</c:v>
                </c:pt>
                <c:pt idx="8">
                  <c:v>Stella Wave Top Unscented 35l 30ct (3.6%)</c:v>
                </c:pt>
                <c:pt idx="9">
                  <c:v>Jan Niezbedny Magnum Flex Draw Tape Scented lavender 60l 8ct (0.8%)</c:v>
                </c:pt>
              </c:strCache>
            </c:strRef>
          </c:cat>
          <c:val>
            <c:numRef>
              <c:f>Sheet1!$B$2:$B$11</c:f>
              <c:numCache>
                <c:formatCode>General</c:formatCode>
                <c:ptCount val="10"/>
                <c:pt idx="0">
                  <c:v>0.0817086861410699</c:v>
                </c:pt>
                <c:pt idx="1">
                  <c:v>0.06390681058220428</c:v>
                </c:pt>
                <c:pt idx="2">
                  <c:v>0.04122746094117103</c:v>
                </c:pt>
                <c:pt idx="3">
                  <c:v>0.035481489059543174</c:v>
                </c:pt>
                <c:pt idx="4">
                  <c:v>0.034873122033503304</c:v>
                </c:pt>
                <c:pt idx="5">
                  <c:v>0.023937482905705375</c:v>
                </c:pt>
                <c:pt idx="6">
                  <c:v>0.02363666112615393</c:v>
                </c:pt>
                <c:pt idx="7">
                  <c:v>0.020968410717576588</c:v>
                </c:pt>
                <c:pt idx="8">
                  <c:v>0.02076329177073316</c:v>
                </c:pt>
                <c:pt idx="9">
                  <c:v>0.0160165184558716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nna Zaradna (3.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Carrefour (16.6%)</c:v>
                </c:pt>
                <c:pt idx="2">
                  <c:v>Stella (16.1%)</c:v>
                </c:pt>
                <c:pt idx="3">
                  <c:v>Jan Niezbedny (20.2%)</c:v>
                </c:pt>
                <c:pt idx="4">
                  <c:v>Paclan (2.9%)</c:v>
                </c:pt>
                <c:pt idx="5">
                  <c:v>Grosik (1.1%)</c:v>
                </c:pt>
                <c:pt idx="6">
                  <c:v>Vi Go! (2.2%)</c:v>
                </c:pt>
                <c:pt idx="7">
                  <c:v>Ravi (1.1%)</c:v>
                </c:pt>
              </c:strCache>
            </c:strRef>
          </c:cat>
          <c:val>
            <c:numRef>
              <c:f>Sheet1!$B$2:$B$9</c:f>
              <c:numCache>
                <c:formatCode>General</c:formatCode>
                <c:ptCount val="8"/>
                <c:pt idx="0">
                  <c:v>0.2865367109573947</c:v>
                </c:pt>
                <c:pt idx="1">
                  <c:v>0.2589710480368472</c:v>
                </c:pt>
                <c:pt idx="2">
                  <c:v>0.1680870475603123</c:v>
                </c:pt>
                <c:pt idx="3">
                  <c:v>0.159001614200588</c:v>
                </c:pt>
                <c:pt idx="4">
                  <c:v>0.05086819359552513</c:v>
                </c:pt>
                <c:pt idx="5">
                  <c:v>0.035357448885780164</c:v>
                </c:pt>
                <c:pt idx="6">
                  <c:v>0.025031777595477128</c:v>
                </c:pt>
                <c:pt idx="7">
                  <c:v>0.01614615916796196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Flat Top Unscented 120l 25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35l 36ct (3.3%)</c:v>
                </c:pt>
                <c:pt idx="1">
                  <c:v>Jan Niezbedny Magnum Flex Draw Tape Unscented 60l 10ct (2.9%)</c:v>
                </c:pt>
                <c:pt idx="2">
                  <c:v>Stella Wave Top Unscented 60l Durable 20ct (2.9%)</c:v>
                </c:pt>
                <c:pt idx="3">
                  <c:v>Jan Niezbedny Magnum Flex Draw Tape Unscented 35l 15ct (3.7%)</c:v>
                </c:pt>
                <c:pt idx="4">
                  <c:v>Jan Niezbedny Wave Top Unscented Blue 60l 20ct (2.6%)</c:v>
                </c:pt>
                <c:pt idx="5">
                  <c:v>Stella Wave Top Scented lavender Purple 60l 16ct (1.7%)</c:v>
                </c:pt>
                <c:pt idx="6">
                  <c:v>Stella Wave Top Unscented 35l 30ct (3.6%)</c:v>
                </c:pt>
                <c:pt idx="7">
                  <c:v>Stella Wave Top Scented lavender Purple 35l 24ct (1.9%)</c:v>
                </c:pt>
                <c:pt idx="8">
                  <c:v>Jan Niezbedny T-Shirt Scented Purple 60l 20ct (1.6%)</c:v>
                </c:pt>
                <c:pt idx="9">
                  <c:v>Jan Niezbedny Wave Top Unscented 120l 15ct (0.3%)</c:v>
                </c:pt>
              </c:strCache>
            </c:strRef>
          </c:cat>
          <c:val>
            <c:numRef>
              <c:f>Sheet1!$B$2:$B$11</c:f>
              <c:numCache>
                <c:formatCode>General</c:formatCode>
                <c:ptCount val="10"/>
                <c:pt idx="0">
                  <c:v>0.06343480478068594</c:v>
                </c:pt>
                <c:pt idx="1">
                  <c:v>0.06292727221670236</c:v>
                </c:pt>
                <c:pt idx="2">
                  <c:v>0.04798244899087996</c:v>
                </c:pt>
                <c:pt idx="3">
                  <c:v>0.03810640061950418</c:v>
                </c:pt>
                <c:pt idx="4">
                  <c:v>0.036101975468610846</c:v>
                </c:pt>
                <c:pt idx="5">
                  <c:v>0.03180423674449609</c:v>
                </c:pt>
                <c:pt idx="6">
                  <c:v>0.02664616633748289</c:v>
                </c:pt>
                <c:pt idx="7">
                  <c:v>0.018758251163170012</c:v>
                </c:pt>
                <c:pt idx="8">
                  <c:v>0.01826292147989632</c:v>
                </c:pt>
                <c:pt idx="9">
                  <c:v>0.017073023722116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Flat Top Unscented 120l 25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Wave Top Unscented Blue 35l 36ct (3.3%)</c:v>
                </c:pt>
                <c:pt idx="2">
                  <c:v>Stella Wave Top Unscented 60l Durable 20ct (2.9%)</c:v>
                </c:pt>
                <c:pt idx="3">
                  <c:v>Jan Niezbedny Wave Top Unscented Blue 60l 20ct (2.6%)</c:v>
                </c:pt>
                <c:pt idx="4">
                  <c:v>Stella Wave Top Scented lavender Purple 60l 16ct (1.7%)</c:v>
                </c:pt>
                <c:pt idx="5">
                  <c:v>Jan Niezbedny Magnum Flex Draw Tape Unscented 35l 15ct (3.7%)</c:v>
                </c:pt>
                <c:pt idx="6">
                  <c:v>Stella Wave Top Unscented 35l 30ct (3.6%)</c:v>
                </c:pt>
                <c:pt idx="7">
                  <c:v>Stella Wave Top Scented Vanilla latte Beige 60l 16ct (0.8%)</c:v>
                </c:pt>
                <c:pt idx="8">
                  <c:v>Jan Niezbedny T-Shirt Scented Purple 60l 20ct (1.6%)</c:v>
                </c:pt>
                <c:pt idx="9">
                  <c:v>Jan Niezbedny Wave Top Unscented 120l 15ct (0.3%)</c:v>
                </c:pt>
              </c:strCache>
            </c:strRef>
          </c:cat>
          <c:val>
            <c:numRef>
              <c:f>Sheet1!$B$2:$B$11</c:f>
              <c:numCache>
                <c:formatCode>General</c:formatCode>
                <c:ptCount val="10"/>
                <c:pt idx="0">
                  <c:v>0.06978513278727724</c:v>
                </c:pt>
                <c:pt idx="1">
                  <c:v>0.062216792889420516</c:v>
                </c:pt>
                <c:pt idx="2">
                  <c:v>0.05061127206524261</c:v>
                </c:pt>
                <c:pt idx="3">
                  <c:v>0.04005863520259352</c:v>
                </c:pt>
                <c:pt idx="4">
                  <c:v>0.033734427913228934</c:v>
                </c:pt>
                <c:pt idx="5">
                  <c:v>0.032909709985384054</c:v>
                </c:pt>
                <c:pt idx="6">
                  <c:v>0.023410781037241882</c:v>
                </c:pt>
                <c:pt idx="7">
                  <c:v>0.018892146152108893</c:v>
                </c:pt>
                <c:pt idx="8">
                  <c:v>0.018865224511644442</c:v>
                </c:pt>
                <c:pt idx="9">
                  <c:v>0.018288394439539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Flat Top Unscented 160l 20ct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Stella Wave Top Unscented 60l Durable 20ct (2.9%)</c:v>
                </c:pt>
                <c:pt idx="2">
                  <c:v>Jan Niezbedny Magnum Flex Draw Tape Unscented 35l 15ct (3.7%)</c:v>
                </c:pt>
                <c:pt idx="3">
                  <c:v>Jan Niezbedny Wave Top Unscented Blue 60l 20ct (2.6%)</c:v>
                </c:pt>
                <c:pt idx="4">
                  <c:v>Jan Niezbedny Wave Top Unscented Blue 35l 36ct (3.3%)</c:v>
                </c:pt>
                <c:pt idx="5">
                  <c:v>Anna Zaradna Flat Top Unscented 60l 10ct (0.7%)</c:v>
                </c:pt>
                <c:pt idx="6">
                  <c:v>Stella Wave Top Scented lavender Purple 60l 16ct (1.7%)</c:v>
                </c:pt>
                <c:pt idx="7">
                  <c:v>Jan Niezbedny Flat Top Unscented 240l 8ct (0.4%)</c:v>
                </c:pt>
                <c:pt idx="8">
                  <c:v>Anna Zaradna Flat Top Unscented 120l 10ct (0.4%)</c:v>
                </c:pt>
                <c:pt idx="9">
                  <c:v>Stella Wave Top Unscented 35l 4x10ct (1.3%)</c:v>
                </c:pt>
              </c:strCache>
            </c:strRef>
          </c:cat>
          <c:val>
            <c:numRef>
              <c:f>Sheet1!$B$2:$B$11</c:f>
              <c:numCache>
                <c:formatCode>General</c:formatCode>
                <c:ptCount val="10"/>
                <c:pt idx="0">
                  <c:v>0.11394615727314604</c:v>
                </c:pt>
                <c:pt idx="1">
                  <c:v>0.07664763504616628</c:v>
                </c:pt>
                <c:pt idx="2">
                  <c:v>0.0683511734331694</c:v>
                </c:pt>
                <c:pt idx="3">
                  <c:v>0.04000442628740238</c:v>
                </c:pt>
                <c:pt idx="4">
                  <c:v>0.02524024187383038</c:v>
                </c:pt>
                <c:pt idx="5">
                  <c:v>0.02400024281304738</c:v>
                </c:pt>
                <c:pt idx="6">
                  <c:v>0.02289564244313767</c:v>
                </c:pt>
                <c:pt idx="7">
                  <c:v>0.018388798018232438</c:v>
                </c:pt>
                <c:pt idx="8">
                  <c:v>0.016558500756789985</c:v>
                </c:pt>
                <c:pt idx="9">
                  <c:v>0.01551426128518977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Flat Top Unscented 160l 20ct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Magnum Flex Draw Tape Unscented 35l 15ct (3.7%)</c:v>
                </c:pt>
                <c:pt idx="2">
                  <c:v>Stella Wave Top Unscented 60l Durable 20ct (2.9%)</c:v>
                </c:pt>
                <c:pt idx="3">
                  <c:v>Jan Niezbedny Wave Top Unscented Blue 60l 20ct (2.6%)</c:v>
                </c:pt>
                <c:pt idx="4">
                  <c:v>Jan Niezbedny Wave Top Unscented Blue 35l 36ct (3.3%)</c:v>
                </c:pt>
                <c:pt idx="5">
                  <c:v>Anna Zaradna Flat Top Unscented 60l 10ct (0.7%)</c:v>
                </c:pt>
                <c:pt idx="6">
                  <c:v>Stella Wave Top Scented lavender Purple 60l 16ct (1.7%)</c:v>
                </c:pt>
                <c:pt idx="7">
                  <c:v>Jan Niezbedny Flat Top Unscented 240l 8ct (0.4%)</c:v>
                </c:pt>
                <c:pt idx="8">
                  <c:v>Anna Zaradna Flat Top Unscented 120l 10ct (0.4%)</c:v>
                </c:pt>
                <c:pt idx="9">
                  <c:v>Jan Niezbedny Magnum Flex Draw Tape Scented lavender 35l 12ct (0.6%)</c:v>
                </c:pt>
              </c:strCache>
            </c:strRef>
          </c:cat>
          <c:val>
            <c:numRef>
              <c:f>Sheet1!$B$2:$B$11</c:f>
              <c:numCache>
                <c:formatCode>General</c:formatCode>
                <c:ptCount val="10"/>
                <c:pt idx="0">
                  <c:v>0.1195086530266195</c:v>
                </c:pt>
                <c:pt idx="1">
                  <c:v>0.0839847263150492</c:v>
                </c:pt>
                <c:pt idx="2">
                  <c:v>0.07042565146067138</c:v>
                </c:pt>
                <c:pt idx="3">
                  <c:v>0.040368188814408845</c:v>
                </c:pt>
                <c:pt idx="4">
                  <c:v>0.02975825826943443</c:v>
                </c:pt>
                <c:pt idx="5">
                  <c:v>0.022800644107218045</c:v>
                </c:pt>
                <c:pt idx="6">
                  <c:v>0.021411789192206203</c:v>
                </c:pt>
                <c:pt idx="7">
                  <c:v>0.020786988615122567</c:v>
                </c:pt>
                <c:pt idx="8">
                  <c:v>0.017042808418148786</c:v>
                </c:pt>
                <c:pt idx="9">
                  <c:v>0.0161623906896159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Flat Top Unscented 240l 8ct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Stella Wave Top Unscented 60l Durable 20ct (2.9%)</c:v>
                </c:pt>
                <c:pt idx="2">
                  <c:v>Jan Niezbedny Wave Top Unscented Blue 60l 20ct (2.6%)</c:v>
                </c:pt>
                <c:pt idx="3">
                  <c:v>Jan Niezbedny Wave Top Unscented Blue 35l 36ct (3.3%)</c:v>
                </c:pt>
                <c:pt idx="4">
                  <c:v>Jan Niezbedny Magnum Flex Draw Tape Unscented 35l 15ct (3.7%)</c:v>
                </c:pt>
                <c:pt idx="5">
                  <c:v>Stella Wave Top Scented lavender Purple 60l 16ct (1.7%)</c:v>
                </c:pt>
                <c:pt idx="6">
                  <c:v>Stella Draw Tape Scented lavender Purple 60l 10ct (1.1%)</c:v>
                </c:pt>
                <c:pt idx="7">
                  <c:v>Jan Niezbedny T-Shirt Scented Purple 60l 20ct (1.6%)</c:v>
                </c:pt>
                <c:pt idx="8">
                  <c:v>Anna Zaradna Flat Top Unscented 35l 15ct (0.9%)</c:v>
                </c:pt>
                <c:pt idx="9">
                  <c:v>Stella Wave Top Unscented 35l 4x10ct (1.3%)</c:v>
                </c:pt>
              </c:strCache>
            </c:strRef>
          </c:cat>
          <c:val>
            <c:numRef>
              <c:f>Sheet1!$B$2:$B$11</c:f>
              <c:numCache>
                <c:formatCode>General</c:formatCode>
                <c:ptCount val="10"/>
                <c:pt idx="0">
                  <c:v>0.07157822562198975</c:v>
                </c:pt>
                <c:pt idx="1">
                  <c:v>0.06660918801318443</c:v>
                </c:pt>
                <c:pt idx="2">
                  <c:v>0.05783517257890102</c:v>
                </c:pt>
                <c:pt idx="3">
                  <c:v>0.05392949123084323</c:v>
                </c:pt>
                <c:pt idx="4">
                  <c:v>0.04286182008480206</c:v>
                </c:pt>
                <c:pt idx="5">
                  <c:v>0.028399656962764464</c:v>
                </c:pt>
                <c:pt idx="6">
                  <c:v>0.02005584626566781</c:v>
                </c:pt>
                <c:pt idx="7">
                  <c:v>0.018762190111385062</c:v>
                </c:pt>
                <c:pt idx="8">
                  <c:v>0.016731013594401142</c:v>
                </c:pt>
                <c:pt idx="9">
                  <c:v>0.01659738545928455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Flat Top Unscented 240l 8ct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Wave Top Unscented Blue 35l 36ct (3.3%)</c:v>
                </c:pt>
                <c:pt idx="2">
                  <c:v>Jan Niezbedny Magnum Flex Draw Tape Unscented 60l 10ct (2.9%)</c:v>
                </c:pt>
                <c:pt idx="3">
                  <c:v>Jan Niezbedny Magnum Flex Draw Tape Unscented 35l 15ct (3.7%)</c:v>
                </c:pt>
                <c:pt idx="4">
                  <c:v>Jan Niezbedny Wave Top Unscented Blue 60l 20ct (2.6%)</c:v>
                </c:pt>
                <c:pt idx="5">
                  <c:v>Stella Wave Top Scented lavender Purple 60l 16ct (1.7%)</c:v>
                </c:pt>
                <c:pt idx="6">
                  <c:v>Anna Zaradna Flat Top Unscented 35l 15ct (0.9%)</c:v>
                </c:pt>
                <c:pt idx="7">
                  <c:v>Jan Niezbedny T-Shirt Scented 35l 30ct (1.4%)</c:v>
                </c:pt>
                <c:pt idx="8">
                  <c:v>Stella Wave Top Scented lavender Purple 35l 24ct (1.9%)</c:v>
                </c:pt>
                <c:pt idx="9">
                  <c:v>Stella Draw Tape Scented lavender Purple 60l 10ct (1.1%)</c:v>
                </c:pt>
              </c:strCache>
            </c:strRef>
          </c:cat>
          <c:val>
            <c:numRef>
              <c:f>Sheet1!$B$2:$B$11</c:f>
              <c:numCache>
                <c:formatCode>General</c:formatCode>
                <c:ptCount val="10"/>
                <c:pt idx="0">
                  <c:v>0.056354525441288696</c:v>
                </c:pt>
                <c:pt idx="1">
                  <c:v>0.0547732070352582</c:v>
                </c:pt>
                <c:pt idx="2">
                  <c:v>0.05404390096364696</c:v>
                </c:pt>
                <c:pt idx="3">
                  <c:v>0.04943538875724775</c:v>
                </c:pt>
                <c:pt idx="4">
                  <c:v>0.041348615466547174</c:v>
                </c:pt>
                <c:pt idx="5">
                  <c:v>0.02267740805859871</c:v>
                </c:pt>
                <c:pt idx="6">
                  <c:v>0.01969068382468852</c:v>
                </c:pt>
                <c:pt idx="7">
                  <c:v>0.019546768087206314</c:v>
                </c:pt>
                <c:pt idx="8">
                  <c:v>0.01848016788601512</c:v>
                </c:pt>
                <c:pt idx="9">
                  <c:v>0.016982948960728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T-Shirt Scented Yellow 20l 30ct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Wave Top Unscented Blue 35l 36ct (3.3%)</c:v>
                </c:pt>
                <c:pt idx="2">
                  <c:v>Stella Wave Top Scented lavender Purple 35l 24ct (1.9%)</c:v>
                </c:pt>
                <c:pt idx="3">
                  <c:v>Jan Niezbedny Magnum Flex Draw Tape Unscented 35l 15ct (3.7%)</c:v>
                </c:pt>
                <c:pt idx="4">
                  <c:v>Stella Draw Tape Scented Vanilla Latte 35l 15ct (0.7%)</c:v>
                </c:pt>
                <c:pt idx="5">
                  <c:v>Jan Niezbedny T-Shirt Scented 35l 30ct (1.4%)</c:v>
                </c:pt>
                <c:pt idx="6">
                  <c:v>Jan Niezbedny Wave Top Unscented Blue 60l 20ct (2.6%)</c:v>
                </c:pt>
                <c:pt idx="7">
                  <c:v>Stella Wave Top Unscented 60l Durable 20ct (2.9%)</c:v>
                </c:pt>
                <c:pt idx="8">
                  <c:v>Stella Wave Top Unscented 35l 4x10ct (1.3%)</c:v>
                </c:pt>
                <c:pt idx="9">
                  <c:v>Jan Niezbedny Wave Top Unscented 15l 26ct (0.5%)</c:v>
                </c:pt>
              </c:strCache>
            </c:strRef>
          </c:cat>
          <c:val>
            <c:numRef>
              <c:f>Sheet1!$B$2:$B$11</c:f>
              <c:numCache>
                <c:formatCode>General</c:formatCode>
                <c:ptCount val="10"/>
                <c:pt idx="0">
                  <c:v>0.10665999990763762</c:v>
                </c:pt>
                <c:pt idx="1">
                  <c:v>0.04142060238387834</c:v>
                </c:pt>
                <c:pt idx="2">
                  <c:v>0.031431182035849034</c:v>
                </c:pt>
                <c:pt idx="3">
                  <c:v>0.022960307911471436</c:v>
                </c:pt>
                <c:pt idx="4">
                  <c:v>0.017721974838716226</c:v>
                </c:pt>
                <c:pt idx="5">
                  <c:v>0.017091827830171342</c:v>
                </c:pt>
                <c:pt idx="6">
                  <c:v>0.011822304050455461</c:v>
                </c:pt>
                <c:pt idx="7">
                  <c:v>0.009984565786917698</c:v>
                </c:pt>
                <c:pt idx="8">
                  <c:v>0.009913242088710894</c:v>
                </c:pt>
                <c:pt idx="9">
                  <c:v>0.0091002152933785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T-Shirt Scented Yellow 20l 30ct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Wave Top Unscented Blue 35l 36ct (3.3%)</c:v>
                </c:pt>
                <c:pt idx="2">
                  <c:v>Stella Wave Top Scented lavender Purple 35l 24ct (1.9%)</c:v>
                </c:pt>
                <c:pt idx="3">
                  <c:v>Jan Niezbedny Magnum Flex Draw Tape Unscented 35l 15ct (3.7%)</c:v>
                </c:pt>
                <c:pt idx="4">
                  <c:v>Jan Niezbedny Wave Top Unscented Blue 60l 20ct (2.6%)</c:v>
                </c:pt>
                <c:pt idx="5">
                  <c:v>Stella Wave Top Unscented 60l Durable 20ct (2.9%)</c:v>
                </c:pt>
                <c:pt idx="6">
                  <c:v>Jan Niezbedny T-Shirt Scented 35l 30ct (1.4%)</c:v>
                </c:pt>
                <c:pt idx="7">
                  <c:v>Stella Draw Tape Scented Vanilla Latte 35l 15ct (0.7%)</c:v>
                </c:pt>
                <c:pt idx="8">
                  <c:v>Anna Zaradna Flat Top Unscented 35l 15ct (0.9%)</c:v>
                </c:pt>
                <c:pt idx="9">
                  <c:v>Stella Wave Top Unscented 35l 4x10ct (1.3%)</c:v>
                </c:pt>
              </c:strCache>
            </c:strRef>
          </c:cat>
          <c:val>
            <c:numRef>
              <c:f>Sheet1!$B$2:$B$11</c:f>
              <c:numCache>
                <c:formatCode>General</c:formatCode>
                <c:ptCount val="10"/>
                <c:pt idx="0">
                  <c:v>0.09859493707653721</c:v>
                </c:pt>
                <c:pt idx="1">
                  <c:v>0.0352836751633802</c:v>
                </c:pt>
                <c:pt idx="2">
                  <c:v>0.020109355179632322</c:v>
                </c:pt>
                <c:pt idx="3">
                  <c:v>0.019036797123454723</c:v>
                </c:pt>
                <c:pt idx="4">
                  <c:v>0.01582487049755489</c:v>
                </c:pt>
                <c:pt idx="5">
                  <c:v>0.014390888188808142</c:v>
                </c:pt>
                <c:pt idx="6">
                  <c:v>0.013394773005096521</c:v>
                </c:pt>
                <c:pt idx="7">
                  <c:v>0.00918318216264274</c:v>
                </c:pt>
                <c:pt idx="8">
                  <c:v>0.008679147889613822</c:v>
                </c:pt>
                <c:pt idx="9">
                  <c:v>0.0082593836710514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T-Shirt Scented 35l 30ct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Wave Top Unscented Blue 35l 36ct (3.3%)</c:v>
                </c:pt>
                <c:pt idx="2">
                  <c:v>Stella Wave Top Scented lavender Purple 35l 24ct (1.9%)</c:v>
                </c:pt>
                <c:pt idx="3">
                  <c:v>Jan Niezbedny Magnum Flex Draw Tape Unscented 35l 15ct (3.7%)</c:v>
                </c:pt>
                <c:pt idx="4">
                  <c:v>Jan Niezbedny T-Shirt Scented Purple 60l 20ct (1.6%)</c:v>
                </c:pt>
                <c:pt idx="5">
                  <c:v>Anna Zaradna Flat Top Unscented 35l 15ct (0.9%)</c:v>
                </c:pt>
                <c:pt idx="6">
                  <c:v>Jan Niezbedny Wave Top Unscented Blue 60l 20ct (2.6%)</c:v>
                </c:pt>
                <c:pt idx="7">
                  <c:v>Stella Wave Top Unscented 35l 4x10ct (1.3%)</c:v>
                </c:pt>
                <c:pt idx="8">
                  <c:v>Stella Wave Top Unscented 60l Durable 20ct (2.9%)</c:v>
                </c:pt>
                <c:pt idx="9">
                  <c:v>Jan Niezbedny T-Shirt Scented Yellow 20l 30ct (0.8%)</c:v>
                </c:pt>
              </c:strCache>
            </c:strRef>
          </c:cat>
          <c:val>
            <c:numRef>
              <c:f>Sheet1!$B$2:$B$11</c:f>
              <c:numCache>
                <c:formatCode>General</c:formatCode>
                <c:ptCount val="10"/>
                <c:pt idx="0">
                  <c:v>0.10400977162586557</c:v>
                </c:pt>
                <c:pt idx="1">
                  <c:v>0.04710309243400113</c:v>
                </c:pt>
                <c:pt idx="2">
                  <c:v>0.027771151028232195</c:v>
                </c:pt>
                <c:pt idx="3">
                  <c:v>0.027192874836014135</c:v>
                </c:pt>
                <c:pt idx="4">
                  <c:v>0.012760988859348803</c:v>
                </c:pt>
                <c:pt idx="5">
                  <c:v>0.012012828176017426</c:v>
                </c:pt>
                <c:pt idx="6">
                  <c:v>0.010235785751024585</c:v>
                </c:pt>
                <c:pt idx="7">
                  <c:v>0.009177623203250858</c:v>
                </c:pt>
                <c:pt idx="8">
                  <c:v>0.007334779671580212</c:v>
                </c:pt>
                <c:pt idx="9">
                  <c:v>0.00716359227646404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T-Shirt Scented 35l 30ct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Wave Top Unscented Blue 35l 36ct (3.3%)</c:v>
                </c:pt>
                <c:pt idx="2">
                  <c:v>Jan Niezbedny Magnum Flex Draw Tape Unscented 35l 15ct (3.7%)</c:v>
                </c:pt>
                <c:pt idx="3">
                  <c:v>Stella Wave Top Scented lavender Purple 35l 24ct (1.9%)</c:v>
                </c:pt>
                <c:pt idx="4">
                  <c:v>Jan Niezbedny T-Shirt Scented Purple 60l 20ct (1.6%)</c:v>
                </c:pt>
                <c:pt idx="5">
                  <c:v>Jan Niezbedny Wave Top Unscented Blue 60l 20ct (2.6%)</c:v>
                </c:pt>
                <c:pt idx="6">
                  <c:v>Anna Zaradna Flat Top Unscented 35l 15ct (0.9%)</c:v>
                </c:pt>
                <c:pt idx="7">
                  <c:v>Stella Wave Top Unscented 35l 4x10ct (1.3%)</c:v>
                </c:pt>
                <c:pt idx="8">
                  <c:v>Stella Wave Top Unscented 60l Durable 20ct (2.9%)</c:v>
                </c:pt>
                <c:pt idx="9">
                  <c:v>Jan Niezbedny Magnum Flex Draw Tape Scented lavender 35l 12ct (0.6%)</c:v>
                </c:pt>
              </c:strCache>
            </c:strRef>
          </c:cat>
          <c:val>
            <c:numRef>
              <c:f>Sheet1!$B$2:$B$11</c:f>
              <c:numCache>
                <c:formatCode>General</c:formatCode>
                <c:ptCount val="10"/>
                <c:pt idx="0">
                  <c:v>0.08595015386886315</c:v>
                </c:pt>
                <c:pt idx="1">
                  <c:v>0.0636605642330224</c:v>
                </c:pt>
                <c:pt idx="2">
                  <c:v>0.0358043209542658</c:v>
                </c:pt>
                <c:pt idx="3">
                  <c:v>0.033881652313601275</c:v>
                </c:pt>
                <c:pt idx="4">
                  <c:v>0.016986219672698002</c:v>
                </c:pt>
                <c:pt idx="5">
                  <c:v>0.015651613643923697</c:v>
                </c:pt>
                <c:pt idx="6">
                  <c:v>0.013862921480373153</c:v>
                </c:pt>
                <c:pt idx="7">
                  <c:v>0.01224563515192998</c:v>
                </c:pt>
                <c:pt idx="8">
                  <c:v>0.010676392418416702</c:v>
                </c:pt>
                <c:pt idx="9">
                  <c:v>0.00840813353062085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nna Zaradna (3.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Carrefour (16.6%)</c:v>
                </c:pt>
                <c:pt idx="2">
                  <c:v>Jan Niezbedny (20.2%)</c:v>
                </c:pt>
                <c:pt idx="3">
                  <c:v>Stella (16.1%)</c:v>
                </c:pt>
                <c:pt idx="4">
                  <c:v>Paclan (2.9%)</c:v>
                </c:pt>
                <c:pt idx="5">
                  <c:v>Grosik (1.1%)</c:v>
                </c:pt>
                <c:pt idx="6">
                  <c:v>Vi Go! (2.2%)</c:v>
                </c:pt>
                <c:pt idx="7">
                  <c:v>Ravi (1.1%)</c:v>
                </c:pt>
              </c:strCache>
            </c:strRef>
          </c:cat>
          <c:val>
            <c:numRef>
              <c:f>Sheet1!$B$2:$B$9</c:f>
              <c:numCache>
                <c:formatCode>General</c:formatCode>
                <c:ptCount val="8"/>
                <c:pt idx="0">
                  <c:v>0.2531915915395957</c:v>
                </c:pt>
                <c:pt idx="1">
                  <c:v>0.2242233512318252</c:v>
                </c:pt>
                <c:pt idx="2">
                  <c:v>0.2193073485205512</c:v>
                </c:pt>
                <c:pt idx="3">
                  <c:v>0.18768964114828895</c:v>
                </c:pt>
                <c:pt idx="4">
                  <c:v>0.043362444819588786</c:v>
                </c:pt>
                <c:pt idx="5">
                  <c:v>0.030646237356470252</c:v>
                </c:pt>
                <c:pt idx="6">
                  <c:v>0.028066211764022565</c:v>
                </c:pt>
                <c:pt idx="7">
                  <c:v>0.0135131736196463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T-Shirt Scented Purple 60l 20ct (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Wave Top Unscented Blue 60l 20ct (2.6%)</c:v>
                </c:pt>
                <c:pt idx="2">
                  <c:v>Stella Wave Top Scented lavender Purple 60l 16ct (1.7%)</c:v>
                </c:pt>
                <c:pt idx="3">
                  <c:v>Stella Draw Tape Scented lavender Purple 60l 10ct (1.1%)</c:v>
                </c:pt>
                <c:pt idx="4">
                  <c:v>Stella Wave Top Scented lavender Purple 35l 24ct (1.9%)</c:v>
                </c:pt>
                <c:pt idx="5">
                  <c:v>Jan Niezbedny Magnum Flex Draw Tape Scented lavender 60l 8ct (0.8%)</c:v>
                </c:pt>
                <c:pt idx="6">
                  <c:v>Jan Niezbedny Magnum Flex Draw Tape Unscented 60l 10ct (2.9%)</c:v>
                </c:pt>
                <c:pt idx="7">
                  <c:v>Jan Niezbedny Magnum Flex Draw Tape Unscented 35l 15ct (3.7%)</c:v>
                </c:pt>
                <c:pt idx="8">
                  <c:v>Stella Wave Top Unscented 35l 4x10ct (1.3%)</c:v>
                </c:pt>
                <c:pt idx="9">
                  <c:v>Jan Niezbedny T-Shirt Scented 35l 30ct (1.4%)</c:v>
                </c:pt>
              </c:strCache>
            </c:strRef>
          </c:cat>
          <c:val>
            <c:numRef>
              <c:f>Sheet1!$B$2:$B$11</c:f>
              <c:numCache>
                <c:formatCode>General</c:formatCode>
                <c:ptCount val="10"/>
                <c:pt idx="0">
                  <c:v>0.05264879302859877</c:v>
                </c:pt>
                <c:pt idx="1">
                  <c:v>0.05051984244488385</c:v>
                </c:pt>
                <c:pt idx="2">
                  <c:v>0.043830696353772035</c:v>
                </c:pt>
                <c:pt idx="3">
                  <c:v>0.04014256659399008</c:v>
                </c:pt>
                <c:pt idx="4">
                  <c:v>0.033639743880607025</c:v>
                </c:pt>
                <c:pt idx="5">
                  <c:v>0.030949964875107178</c:v>
                </c:pt>
                <c:pt idx="6">
                  <c:v>0.02877284296585889</c:v>
                </c:pt>
                <c:pt idx="7">
                  <c:v>0.020860331630390642</c:v>
                </c:pt>
                <c:pt idx="8">
                  <c:v>0.020298116682830995</c:v>
                </c:pt>
                <c:pt idx="9">
                  <c:v>0.0186602950515296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T-Shirt Scented Purple 60l 20ct (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Wave Top Unscented Blue 60l 20ct (2.6%)</c:v>
                </c:pt>
                <c:pt idx="2">
                  <c:v>Stella Wave Top Scented lavender Purple 35l 24ct (1.9%)</c:v>
                </c:pt>
                <c:pt idx="3">
                  <c:v>Stella Draw Tape Scented lavender Purple 60l 10ct (1.1%)</c:v>
                </c:pt>
                <c:pt idx="4">
                  <c:v>Stella Wave Top Scented lavender Purple 60l 16ct (1.7%)</c:v>
                </c:pt>
                <c:pt idx="5">
                  <c:v>Jan Niezbedny T-Shirt Scented 35l 30ct (1.4%)</c:v>
                </c:pt>
                <c:pt idx="6">
                  <c:v>Jan Niezbedny Magnum Flex Draw Tape Scented lavender 60l 8ct (0.8%)</c:v>
                </c:pt>
                <c:pt idx="7">
                  <c:v>Stella Wave Top Unscented 35l 4x10ct (1.3%)</c:v>
                </c:pt>
                <c:pt idx="8">
                  <c:v>Jan Niezbedny Magnum Flex Draw Tape Unscented 60l 10ct (2.9%)</c:v>
                </c:pt>
                <c:pt idx="9">
                  <c:v>Jan Niezbedny Magnum Flex Draw Tape Unscented 35l 15ct (3.7%)</c:v>
                </c:pt>
              </c:strCache>
            </c:strRef>
          </c:cat>
          <c:val>
            <c:numRef>
              <c:f>Sheet1!$B$2:$B$11</c:f>
              <c:numCache>
                <c:formatCode>General</c:formatCode>
                <c:ptCount val="10"/>
                <c:pt idx="0">
                  <c:v>0.04586424275558248</c:v>
                </c:pt>
                <c:pt idx="1">
                  <c:v>0.04554577970460059</c:v>
                </c:pt>
                <c:pt idx="2">
                  <c:v>0.037353509557791986</c:v>
                </c:pt>
                <c:pt idx="3">
                  <c:v>0.032047381360873047</c:v>
                </c:pt>
                <c:pt idx="4">
                  <c:v>0.031391237631838</c:v>
                </c:pt>
                <c:pt idx="5">
                  <c:v>0.02458959436951761</c:v>
                </c:pt>
                <c:pt idx="6">
                  <c:v>0.023529925611142196</c:v>
                </c:pt>
                <c:pt idx="7">
                  <c:v>0.020266016479224033</c:v>
                </c:pt>
                <c:pt idx="8">
                  <c:v>0.020156911852904545</c:v>
                </c:pt>
                <c:pt idx="9">
                  <c:v>0.018573948274020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Wave Top Unscented 15l 26ct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Stella Wave Top Unscented 35l 30ct (3.6%)</c:v>
                </c:pt>
                <c:pt idx="2">
                  <c:v>Jan Niezbedny Wave Top Unscented Blue 35l 36ct (3.3%)</c:v>
                </c:pt>
                <c:pt idx="3">
                  <c:v>Stella Wave Top Unscented 35l 4x10ct (1.3%)</c:v>
                </c:pt>
                <c:pt idx="4">
                  <c:v>Jan Niezbedny Magnum Flex Draw Tape Unscented 35l 15ct (3.7%)</c:v>
                </c:pt>
                <c:pt idx="5">
                  <c:v>Stella Wave Top Unscented 60l Durable 20ct (2.9%)</c:v>
                </c:pt>
                <c:pt idx="6">
                  <c:v>Jan Niezbedny Wave Top Unscented Blue 60l 20ct (2.6%)</c:v>
                </c:pt>
                <c:pt idx="7">
                  <c:v>Stella Draw Tape Scented Vanilla Latte 35l 15ct (0.7%)</c:v>
                </c:pt>
                <c:pt idx="8">
                  <c:v>Jan Niezbedny T-Shirt Scented 35l 30ct (1.4%)</c:v>
                </c:pt>
                <c:pt idx="9">
                  <c:v>Jan Niezbedny T-Shirt Scented Purple 60l 20ct (1.6%)</c:v>
                </c:pt>
              </c:strCache>
            </c:strRef>
          </c:cat>
          <c:val>
            <c:numRef>
              <c:f>Sheet1!$B$2:$B$11</c:f>
              <c:numCache>
                <c:formatCode>General</c:formatCode>
                <c:ptCount val="10"/>
                <c:pt idx="0">
                  <c:v>0.06333730392740827</c:v>
                </c:pt>
                <c:pt idx="1">
                  <c:v>0.05421142162796403</c:v>
                </c:pt>
                <c:pt idx="2">
                  <c:v>0.0348195882455479</c:v>
                </c:pt>
                <c:pt idx="3">
                  <c:v>0.03267419438214617</c:v>
                </c:pt>
                <c:pt idx="4">
                  <c:v>0.032558444070857194</c:v>
                </c:pt>
                <c:pt idx="5">
                  <c:v>0.02609079041063454</c:v>
                </c:pt>
                <c:pt idx="6">
                  <c:v>0.024880634096480843</c:v>
                </c:pt>
                <c:pt idx="7">
                  <c:v>0.023241848990951386</c:v>
                </c:pt>
                <c:pt idx="8">
                  <c:v>0.019911340725341037</c:v>
                </c:pt>
                <c:pt idx="9">
                  <c:v>0.018747997150114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Wave Top Unscented 15l 26ct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Stella Wave Top Unscented 35l 30ct (3.6%)</c:v>
                </c:pt>
                <c:pt idx="2">
                  <c:v>Jan Niezbedny Magnum Flex Draw Tape Unscented 35l 15ct (3.7%)</c:v>
                </c:pt>
                <c:pt idx="3">
                  <c:v>Jan Niezbedny Wave Top Unscented Blue 35l 36ct (3.3%)</c:v>
                </c:pt>
                <c:pt idx="4">
                  <c:v>Stella Draw Tape Scented Vanilla Latte 35l 15ct (0.7%)</c:v>
                </c:pt>
                <c:pt idx="5">
                  <c:v>Stella Wave Top Unscented 35l 4x10ct (1.3%)</c:v>
                </c:pt>
                <c:pt idx="6">
                  <c:v>Stella Wave Top Unscented 60l Durable 20ct (2.9%)</c:v>
                </c:pt>
                <c:pt idx="7">
                  <c:v>Stella Draw Tape Scented lavender Purple 60l 10ct (1.1%)</c:v>
                </c:pt>
                <c:pt idx="8">
                  <c:v>Stella Wave Top Scented lavender Purple 60l 16ct (1.7%)</c:v>
                </c:pt>
                <c:pt idx="9">
                  <c:v>Jan Niezbedny Magnum Flex Draw Tape Unscented 60l 10ct (2.9%)</c:v>
                </c:pt>
              </c:strCache>
            </c:strRef>
          </c:cat>
          <c:val>
            <c:numRef>
              <c:f>Sheet1!$B$2:$B$11</c:f>
              <c:numCache>
                <c:formatCode>General</c:formatCode>
                <c:ptCount val="10"/>
                <c:pt idx="0">
                  <c:v>0.0558792054529518</c:v>
                </c:pt>
                <c:pt idx="1">
                  <c:v>0.05198593499488256</c:v>
                </c:pt>
                <c:pt idx="2">
                  <c:v>0.04709402622121068</c:v>
                </c:pt>
                <c:pt idx="3">
                  <c:v>0.04170366318838068</c:v>
                </c:pt>
                <c:pt idx="4">
                  <c:v>0.04000175200492457</c:v>
                </c:pt>
                <c:pt idx="5">
                  <c:v>0.028291083725781044</c:v>
                </c:pt>
                <c:pt idx="6">
                  <c:v>0.024568463647813656</c:v>
                </c:pt>
                <c:pt idx="7">
                  <c:v>0.024505925553439438</c:v>
                </c:pt>
                <c:pt idx="8">
                  <c:v>0.021720561000354962</c:v>
                </c:pt>
                <c:pt idx="9">
                  <c:v>0.0212561654922921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ędny Easy-Pack Wave Top Cherry 35L 26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Jan Niezbedny Wave Top Unscented Blue 35l 36ct (3.3%)</c:v>
                </c:pt>
                <c:pt idx="2">
                  <c:v>Jan Niezbedny Magnum Flex Draw Tape Unscented 35l 15ct (3.7%)</c:v>
                </c:pt>
                <c:pt idx="3">
                  <c:v>Stella Wave Top Unscented 35l 30ct (3.6%)</c:v>
                </c:pt>
                <c:pt idx="4">
                  <c:v>Jan Niezbedny T-Shirt Scented 35l 30ct (1.4%)</c:v>
                </c:pt>
                <c:pt idx="5">
                  <c:v>Jan Niezbedny Magnum Flex Draw Tape Scented lavender 35l 12ct (0.6%)</c:v>
                </c:pt>
                <c:pt idx="6">
                  <c:v>Stella Wave Top Unscented 35l 4x10ct (1.3%)</c:v>
                </c:pt>
                <c:pt idx="7">
                  <c:v>Stella Draw Tape Scented lavender Purple 60l 10ct (1.1%)</c:v>
                </c:pt>
                <c:pt idx="8">
                  <c:v>Jan Niezbedny Wave Top Unscented Blue 60l 20ct (2.6%)</c:v>
                </c:pt>
                <c:pt idx="9">
                  <c:v>Anna Zaradna Flat Top Unscented 35l 15ct (0.9%)</c:v>
                </c:pt>
              </c:strCache>
            </c:strRef>
          </c:cat>
          <c:val>
            <c:numRef>
              <c:f>Sheet1!$B$2:$B$11</c:f>
              <c:numCache>
                <c:formatCode>General</c:formatCode>
                <c:ptCount val="10"/>
                <c:pt idx="0">
                  <c:v>0.0693739514631192</c:v>
                </c:pt>
                <c:pt idx="1">
                  <c:v>0.06702744830244227</c:v>
                </c:pt>
                <c:pt idx="2">
                  <c:v>0.06485654386532826</c:v>
                </c:pt>
                <c:pt idx="3">
                  <c:v>0.05963863981545835</c:v>
                </c:pt>
                <c:pt idx="4">
                  <c:v>0.02818463966026614</c:v>
                </c:pt>
                <c:pt idx="5">
                  <c:v>0.02358927355300458</c:v>
                </c:pt>
                <c:pt idx="6">
                  <c:v>0.021378381781038434</c:v>
                </c:pt>
                <c:pt idx="7">
                  <c:v>0.01802904264221682</c:v>
                </c:pt>
                <c:pt idx="8">
                  <c:v>0.017911345654604876</c:v>
                </c:pt>
                <c:pt idx="9">
                  <c:v>0.0165899304333993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ędny Easy-Pack Wave Top Cherry 35L 26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Stella Wave Top Unscented 35l 30ct (3.6%)</c:v>
                </c:pt>
                <c:pt idx="2">
                  <c:v>Jan Niezbedny Wave Top Unscented Blue 35l 36ct (3.3%)</c:v>
                </c:pt>
                <c:pt idx="3">
                  <c:v>Jan Niezbedny Magnum Flex Draw Tape Unscented 35l 15ct (3.7%)</c:v>
                </c:pt>
                <c:pt idx="4">
                  <c:v>Jan Niezbedny T-Shirt Scented 35l 30ct (1.4%)</c:v>
                </c:pt>
                <c:pt idx="5">
                  <c:v>Jan Niezbedny Magnum Flex Draw Tape Scented lavender 35l 12ct (0.6%)</c:v>
                </c:pt>
                <c:pt idx="6">
                  <c:v>Anna Zaradna Flat Top Unscented 35l 15ct (0.9%)</c:v>
                </c:pt>
                <c:pt idx="7">
                  <c:v>Jan Niezbedny T-Shirt Scented Purple 60l 20ct (1.6%)</c:v>
                </c:pt>
                <c:pt idx="8">
                  <c:v>Stella Wave Top Unscented 35l 4x10ct (1.3%)</c:v>
                </c:pt>
                <c:pt idx="9">
                  <c:v>Jan Niezbedny T-Shirt Scented Yellow 20l 30ct (0.8%)</c:v>
                </c:pt>
              </c:strCache>
            </c:strRef>
          </c:cat>
          <c:val>
            <c:numRef>
              <c:f>Sheet1!$B$2:$B$11</c:f>
              <c:numCache>
                <c:formatCode>General</c:formatCode>
                <c:ptCount val="10"/>
                <c:pt idx="0">
                  <c:v>0.06640352164490584</c:v>
                </c:pt>
                <c:pt idx="1">
                  <c:v>0.06268958067713344</c:v>
                </c:pt>
                <c:pt idx="2">
                  <c:v>0.06018750002242515</c:v>
                </c:pt>
                <c:pt idx="3">
                  <c:v>0.05717797778638029</c:v>
                </c:pt>
                <c:pt idx="4">
                  <c:v>0.045061850544771825</c:v>
                </c:pt>
                <c:pt idx="5">
                  <c:v>0.018296542004660552</c:v>
                </c:pt>
                <c:pt idx="6">
                  <c:v>0.01584080764832753</c:v>
                </c:pt>
                <c:pt idx="7">
                  <c:v>0.0149955673466091</c:v>
                </c:pt>
                <c:pt idx="8">
                  <c:v>0.014300303499543547</c:v>
                </c:pt>
                <c:pt idx="9">
                  <c:v>0.01242160652988388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Wave Top Unscented Blue 35l 30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35l 36ct (3.3%)</c:v>
                </c:pt>
                <c:pt idx="1">
                  <c:v>Jan Niezbedny Magnum Flex Draw Tape Unscented 35l 15ct (3.7%)</c:v>
                </c:pt>
                <c:pt idx="2">
                  <c:v>Stella Wave Top Unscented 35l 30ct (3.6%)</c:v>
                </c:pt>
                <c:pt idx="3">
                  <c:v>Stella Wave Top Scented lavender Purple 35l 24ct (1.9%)</c:v>
                </c:pt>
                <c:pt idx="4">
                  <c:v>Jan Niezbedny Wave Top Unscented Blue 60l 20ct (2.6%)</c:v>
                </c:pt>
                <c:pt idx="5">
                  <c:v>Jan Niezbedny Magnum Flex Draw Tape Unscented 60l 10ct (2.9%)</c:v>
                </c:pt>
                <c:pt idx="6">
                  <c:v>Jan Niezbedny T-Shirt Scented 35l 30ct (1.4%)</c:v>
                </c:pt>
                <c:pt idx="7">
                  <c:v>Jan Niezbedny Magnum Flex Draw Tape Scented lavender 35l 12ct (0.6%)</c:v>
                </c:pt>
                <c:pt idx="8">
                  <c:v>Stella Wave Top Unscented 35l 4x10ct (1.3%)</c:v>
                </c:pt>
                <c:pt idx="9">
                  <c:v>Stella Draw Tape Scented Vanilla Latte 35l 15ct (0.7%)</c:v>
                </c:pt>
              </c:strCache>
            </c:strRef>
          </c:cat>
          <c:val>
            <c:numRef>
              <c:f>Sheet1!$B$2:$B$11</c:f>
              <c:numCache>
                <c:formatCode>General</c:formatCode>
                <c:ptCount val="10"/>
                <c:pt idx="0">
                  <c:v>0.14171689259482012</c:v>
                </c:pt>
                <c:pt idx="1">
                  <c:v>0.07166638005104065</c:v>
                </c:pt>
                <c:pt idx="2">
                  <c:v>0.04717608646931706</c:v>
                </c:pt>
                <c:pt idx="3">
                  <c:v>0.04544825370988619</c:v>
                </c:pt>
                <c:pt idx="4">
                  <c:v>0.027486460027731464</c:v>
                </c:pt>
                <c:pt idx="5">
                  <c:v>0.02713815716583827</c:v>
                </c:pt>
                <c:pt idx="6">
                  <c:v>0.026751151795780893</c:v>
                </c:pt>
                <c:pt idx="7">
                  <c:v>0.022845077695419876</c:v>
                </c:pt>
                <c:pt idx="8">
                  <c:v>0.018641285650106858</c:v>
                </c:pt>
                <c:pt idx="9">
                  <c:v>0.01778420695026858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Wave Top Unscented Blue 35l 30c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35l 36ct (3.3%)</c:v>
                </c:pt>
                <c:pt idx="1">
                  <c:v>Jan Niezbedny Magnum Flex Draw Tape Unscented 35l 15ct (3.7%)</c:v>
                </c:pt>
                <c:pt idx="2">
                  <c:v>Stella Wave Top Unscented 35l 30ct (3.6%)</c:v>
                </c:pt>
                <c:pt idx="3">
                  <c:v>Stella Wave Top Scented lavender Purple 35l 24ct (1.9%)</c:v>
                </c:pt>
                <c:pt idx="4">
                  <c:v>Jan Niezbedny T-Shirt Scented 35l 30ct (1.4%)</c:v>
                </c:pt>
                <c:pt idx="5">
                  <c:v>Jan Niezbedny Wave Top Unscented Blue 60l 20ct (2.6%)</c:v>
                </c:pt>
                <c:pt idx="6">
                  <c:v>Jan Niezbedny Magnum Flex Draw Tape Unscented 60l 10ct (2.9%)</c:v>
                </c:pt>
                <c:pt idx="7">
                  <c:v>Jan Niezbedny Magnum Flex Draw Tape Scented lavender 35l 12ct (0.6%)</c:v>
                </c:pt>
                <c:pt idx="8">
                  <c:v>Anna Zaradna Flat Top Unscented 35l 15ct (0.9%)</c:v>
                </c:pt>
                <c:pt idx="9">
                  <c:v>Stella Wave Top Unscented 35l 4x10ct (1.3%)</c:v>
                </c:pt>
              </c:strCache>
            </c:strRef>
          </c:cat>
          <c:val>
            <c:numRef>
              <c:f>Sheet1!$B$2:$B$11</c:f>
              <c:numCache>
                <c:formatCode>General</c:formatCode>
                <c:ptCount val="10"/>
                <c:pt idx="0">
                  <c:v>0.16679738442933253</c:v>
                </c:pt>
                <c:pt idx="1">
                  <c:v>0.07578589791510126</c:v>
                </c:pt>
                <c:pt idx="2">
                  <c:v>0.06102628728796705</c:v>
                </c:pt>
                <c:pt idx="3">
                  <c:v>0.04982896450287949</c:v>
                </c:pt>
                <c:pt idx="4">
                  <c:v>0.03315437545299547</c:v>
                </c:pt>
                <c:pt idx="5">
                  <c:v>0.023451418662156664</c:v>
                </c:pt>
                <c:pt idx="6">
                  <c:v>0.02045720854144148</c:v>
                </c:pt>
                <c:pt idx="7">
                  <c:v>0.017165373538826054</c:v>
                </c:pt>
                <c:pt idx="8">
                  <c:v>0.016904124338046302</c:v>
                </c:pt>
                <c:pt idx="9">
                  <c:v>0.0134967452708696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Wave Top Unscented Blue 35l 36ct (3.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35l 15ct (3.7%)</c:v>
                </c:pt>
                <c:pt idx="1">
                  <c:v>Stella Wave Top Unscented 35l 30ct (3.6%)</c:v>
                </c:pt>
                <c:pt idx="2">
                  <c:v>Jan Niezbedny T-Shirt Scented 35l 30ct (1.4%)</c:v>
                </c:pt>
                <c:pt idx="3">
                  <c:v>Jan Niezbedny Wave Top Unscented Blue 60l 20ct (2.6%)</c:v>
                </c:pt>
                <c:pt idx="4">
                  <c:v>Jan Niezbedny Magnum Flex Draw Tape Unscented 60l 10ct (2.9%)</c:v>
                </c:pt>
                <c:pt idx="5">
                  <c:v>Stella Wave Top Scented lavender Purple 35l 24ct (1.9%)</c:v>
                </c:pt>
                <c:pt idx="6">
                  <c:v>Anna Zaradna Flat Top Unscented 35l 15ct (0.9%)</c:v>
                </c:pt>
                <c:pt idx="7">
                  <c:v>Jan Niezbedny Magnum Flex Draw Tape Scented lavender 35l 12ct (0.6%)</c:v>
                </c:pt>
                <c:pt idx="8">
                  <c:v>Stella Wave Top Unscented 60l Durable 20ct (2.9%)</c:v>
                </c:pt>
                <c:pt idx="9">
                  <c:v>Stella Draw Tape Scented Vanilla Latte 35l 15ct (0.7%)</c:v>
                </c:pt>
              </c:strCache>
            </c:strRef>
          </c:cat>
          <c:val>
            <c:numRef>
              <c:f>Sheet1!$B$2:$B$11</c:f>
              <c:numCache>
                <c:formatCode>General</c:formatCode>
                <c:ptCount val="10"/>
                <c:pt idx="0">
                  <c:v>0.09046255811953632</c:v>
                </c:pt>
                <c:pt idx="1">
                  <c:v>0.07779411325676798</c:v>
                </c:pt>
                <c:pt idx="2">
                  <c:v>0.03782168546985757</c:v>
                </c:pt>
                <c:pt idx="3">
                  <c:v>0.030732709963913453</c:v>
                </c:pt>
                <c:pt idx="4">
                  <c:v>0.030597969332214613</c:v>
                </c:pt>
                <c:pt idx="5">
                  <c:v>0.02845831789631992</c:v>
                </c:pt>
                <c:pt idx="6">
                  <c:v>0.021482674706447307</c:v>
                </c:pt>
                <c:pt idx="7">
                  <c:v>0.01932285116168627</c:v>
                </c:pt>
                <c:pt idx="8">
                  <c:v>0.017867251478494</c:v>
                </c:pt>
                <c:pt idx="9">
                  <c:v>0.0172261033182589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Wave Top Unscented Blue 35l 36ct (3.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Magnum Flex Draw Tape Unscented 35l 15ct (3.7%)</c:v>
                </c:pt>
                <c:pt idx="2">
                  <c:v>Jan Niezbedny T-Shirt Scented 35l 30ct (1.4%)</c:v>
                </c:pt>
                <c:pt idx="3">
                  <c:v>Stella Wave Top Scented lavender Purple 35l 24ct (1.9%)</c:v>
                </c:pt>
                <c:pt idx="4">
                  <c:v>Anna Zaradna Flat Top Unscented 35l 15ct (0.9%)</c:v>
                </c:pt>
                <c:pt idx="5">
                  <c:v>Jan Niezbedny Wave Top Unscented Blue 60l 20ct (2.6%)</c:v>
                </c:pt>
                <c:pt idx="6">
                  <c:v>Jan Niezbedny Magnum Flex Draw Tape Unscented 60l 10ct (2.9%)</c:v>
                </c:pt>
                <c:pt idx="7">
                  <c:v>Anna Zaradna Wave Top Scented Floral Blue 35l 20ct (0.5%)</c:v>
                </c:pt>
                <c:pt idx="8">
                  <c:v>Jan Niezbedny Magnum Flex Draw Tape Scented lavender 35l 12ct (0.6%)</c:v>
                </c:pt>
                <c:pt idx="9">
                  <c:v>Jan Niezbedny T-Shirt Scented Yellow 20l 30ct (0.8%)</c:v>
                </c:pt>
              </c:strCache>
            </c:strRef>
          </c:cat>
          <c:val>
            <c:numRef>
              <c:f>Sheet1!$B$2:$B$11</c:f>
              <c:numCache>
                <c:formatCode>General</c:formatCode>
                <c:ptCount val="10"/>
                <c:pt idx="0">
                  <c:v>0.10572447410732284</c:v>
                </c:pt>
                <c:pt idx="1">
                  <c:v>0.09140289358503421</c:v>
                </c:pt>
                <c:pt idx="2">
                  <c:v>0.049906123906899684</c:v>
                </c:pt>
                <c:pt idx="3">
                  <c:v>0.025444246733705395</c:v>
                </c:pt>
                <c:pt idx="4">
                  <c:v>0.023754506834729024</c:v>
                </c:pt>
                <c:pt idx="5">
                  <c:v>0.02278436810839656</c:v>
                </c:pt>
                <c:pt idx="6">
                  <c:v>0.020489623244585958</c:v>
                </c:pt>
                <c:pt idx="7">
                  <c:v>0.01764128040832816</c:v>
                </c:pt>
                <c:pt idx="8">
                  <c:v>0.013921886213486421</c:v>
                </c:pt>
                <c:pt idx="9">
                  <c:v>0.0117465124620123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refour (1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Stella (16.1%)</c:v>
                </c:pt>
                <c:pt idx="2">
                  <c:v>Jan Niezbedny (20.2%)</c:v>
                </c:pt>
                <c:pt idx="3">
                  <c:v>Paclan (2.9%)</c:v>
                </c:pt>
                <c:pt idx="4">
                  <c:v>Anna Zaradna (3.2%)</c:v>
                </c:pt>
                <c:pt idx="5">
                  <c:v>Grosik (1.1%)</c:v>
                </c:pt>
                <c:pt idx="6">
                  <c:v>Ravi (1.1%)</c:v>
                </c:pt>
                <c:pt idx="7">
                  <c:v>Vi Go! (2.2%)</c:v>
                </c:pt>
              </c:strCache>
            </c:strRef>
          </c:cat>
          <c:val>
            <c:numRef>
              <c:f>Sheet1!$B$2:$B$9</c:f>
              <c:numCache>
                <c:formatCode>General</c:formatCode>
                <c:ptCount val="8"/>
                <c:pt idx="0">
                  <c:v>0.43431834143142545</c:v>
                </c:pt>
                <c:pt idx="1">
                  <c:v>0.19649103808185728</c:v>
                </c:pt>
                <c:pt idx="2">
                  <c:v>0.17624611267261578</c:v>
                </c:pt>
                <c:pt idx="3">
                  <c:v>0.07013322042973696</c:v>
                </c:pt>
                <c:pt idx="4">
                  <c:v>0.04101262374802229</c:v>
                </c:pt>
                <c:pt idx="5">
                  <c:v>0.03488113927849657</c:v>
                </c:pt>
                <c:pt idx="6">
                  <c:v>0.02382310156685713</c:v>
                </c:pt>
                <c:pt idx="7">
                  <c:v>0.0230944227909551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ędny Easy-Pack Wave Top Cherry 60L 18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T-Shirt Scented Purple 60l 20ct (1.6%)</c:v>
                </c:pt>
                <c:pt idx="1">
                  <c:v>Stella Wave Top Scented lavender Purple 60l 16ct (1.7%)</c:v>
                </c:pt>
                <c:pt idx="2">
                  <c:v>Stella Wave Top Unscented 60l Durable 20ct (2.9%)</c:v>
                </c:pt>
                <c:pt idx="3">
                  <c:v>Jan Niezbedny Wave Top Unscented Blue 60l 20ct (2.6%)</c:v>
                </c:pt>
                <c:pt idx="4">
                  <c:v>Jan Niezbedny Magnum Flex Draw Tape Unscented 60l 10ct (2.9%)</c:v>
                </c:pt>
                <c:pt idx="5">
                  <c:v>Stella Draw Tape Scented lavender Purple 60l 10ct (1.1%)</c:v>
                </c:pt>
                <c:pt idx="6">
                  <c:v>Jan Niezbedny Wave Top Unscented Blue 35l 36ct (3.3%)</c:v>
                </c:pt>
                <c:pt idx="7">
                  <c:v>Jan Niezbedny Magnum Flex Draw Tape Scented lavender 60l 8ct (0.8%)</c:v>
                </c:pt>
                <c:pt idx="8">
                  <c:v>Stella Wave Top Unscented 35l 4x10ct (1.3%)</c:v>
                </c:pt>
                <c:pt idx="9">
                  <c:v>Stella Wave Top Unscented 35l 30ct (3.6%)</c:v>
                </c:pt>
              </c:strCache>
            </c:strRef>
          </c:cat>
          <c:val>
            <c:numRef>
              <c:f>Sheet1!$B$2:$B$11</c:f>
              <c:numCache>
                <c:formatCode>General</c:formatCode>
                <c:ptCount val="10"/>
                <c:pt idx="0">
                  <c:v>0.07022820967085983</c:v>
                </c:pt>
                <c:pt idx="1">
                  <c:v>0.06855054676202259</c:v>
                </c:pt>
                <c:pt idx="2">
                  <c:v>0.061826663987252325</c:v>
                </c:pt>
                <c:pt idx="3">
                  <c:v>0.05888616191920697</c:v>
                </c:pt>
                <c:pt idx="4">
                  <c:v>0.03559280324346285</c:v>
                </c:pt>
                <c:pt idx="5">
                  <c:v>0.025440488021009327</c:v>
                </c:pt>
                <c:pt idx="6">
                  <c:v>0.024389995123820972</c:v>
                </c:pt>
                <c:pt idx="7">
                  <c:v>0.02204931079868231</c:v>
                </c:pt>
                <c:pt idx="8">
                  <c:v>0.021415154898198778</c:v>
                </c:pt>
                <c:pt idx="9">
                  <c:v>0.01768881666012119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ędny Easy-Pack Wave Top Cherry 60L 18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Stella Wave Top Unscented 60l Durable 20ct (2.9%)</c:v>
                </c:pt>
                <c:pt idx="2">
                  <c:v>Jan Niezbedny T-Shirt Scented Purple 60l 20ct (1.6%)</c:v>
                </c:pt>
                <c:pt idx="3">
                  <c:v>Stella Wave Top Scented lavender Purple 60l 16ct (1.7%)</c:v>
                </c:pt>
                <c:pt idx="4">
                  <c:v>Jan Niezbedny Magnum Flex Draw Tape Unscented 60l 10ct (2.9%)</c:v>
                </c:pt>
                <c:pt idx="5">
                  <c:v>Jan Niezbedny Wave Top Unscented Blue 35l 36ct (3.3%)</c:v>
                </c:pt>
                <c:pt idx="6">
                  <c:v>Stella Wave Top Unscented 35l 30ct (3.6%)</c:v>
                </c:pt>
                <c:pt idx="7">
                  <c:v>Jan Niezbedny Magnum Flex Draw Tape Unscented 35l 15ct (3.7%)</c:v>
                </c:pt>
                <c:pt idx="8">
                  <c:v>Stella Draw Tape Scented lavender Purple 60l 10ct (1.1%)</c:v>
                </c:pt>
                <c:pt idx="9">
                  <c:v>Stella Wave Top Unscented 35l 4x10ct (1.3%)</c:v>
                </c:pt>
              </c:strCache>
            </c:strRef>
          </c:cat>
          <c:val>
            <c:numRef>
              <c:f>Sheet1!$B$2:$B$11</c:f>
              <c:numCache>
                <c:formatCode>General</c:formatCode>
                <c:ptCount val="10"/>
                <c:pt idx="0">
                  <c:v>0.07100575331323962</c:v>
                </c:pt>
                <c:pt idx="1">
                  <c:v>0.06825981643336416</c:v>
                </c:pt>
                <c:pt idx="2">
                  <c:v>0.06335700341266153</c:v>
                </c:pt>
                <c:pt idx="3">
                  <c:v>0.0593823915763689</c:v>
                </c:pt>
                <c:pt idx="4">
                  <c:v>0.04446326768858292</c:v>
                </c:pt>
                <c:pt idx="5">
                  <c:v>0.027737205569391892</c:v>
                </c:pt>
                <c:pt idx="6">
                  <c:v>0.023856697901230187</c:v>
                </c:pt>
                <c:pt idx="7">
                  <c:v>0.016752213245195897</c:v>
                </c:pt>
                <c:pt idx="8">
                  <c:v>0.01582921214646453</c:v>
                </c:pt>
                <c:pt idx="9">
                  <c:v>0.01563074774848874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Wave Top Unscented Blue 60l 20ct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Magnum Flex Draw Tape Unscented 60l 10ct (2.9%)</c:v>
                </c:pt>
                <c:pt idx="2">
                  <c:v>Jan Niezbedny T-Shirt Scented Purple 60l 20ct (1.6%)</c:v>
                </c:pt>
                <c:pt idx="3">
                  <c:v>Jan Niezbedny Wave Top Unscented Blue 35l 36ct (3.3%)</c:v>
                </c:pt>
                <c:pt idx="4">
                  <c:v>Stella Wave Top Scented lavender Purple 60l 16ct (1.7%)</c:v>
                </c:pt>
                <c:pt idx="5">
                  <c:v>Jan Niezbedny Magnum Flex Draw Tape Unscented 35l 15ct (3.7%)</c:v>
                </c:pt>
                <c:pt idx="6">
                  <c:v>Stella Draw Tape Scented lavender Purple 60l 10ct (1.1%)</c:v>
                </c:pt>
                <c:pt idx="7">
                  <c:v>Stella Wave Top Unscented 35l 4x10ct (1.3%)</c:v>
                </c:pt>
                <c:pt idx="8">
                  <c:v>Jan Niezbedny Magnum Flex Draw Tape Scented lavender 60l 8ct (0.8%)</c:v>
                </c:pt>
                <c:pt idx="9">
                  <c:v>Stella Wave Top Scented lavender Purple 35l 24ct (1.9%)</c:v>
                </c:pt>
              </c:strCache>
            </c:strRef>
          </c:cat>
          <c:val>
            <c:numRef>
              <c:f>Sheet1!$B$2:$B$11</c:f>
              <c:numCache>
                <c:formatCode>General</c:formatCode>
                <c:ptCount val="10"/>
                <c:pt idx="0">
                  <c:v>0.05647060453177868</c:v>
                </c:pt>
                <c:pt idx="1">
                  <c:v>0.04437498055558924</c:v>
                </c:pt>
                <c:pt idx="2">
                  <c:v>0.042830873600705636</c:v>
                </c:pt>
                <c:pt idx="3">
                  <c:v>0.03973440192809681</c:v>
                </c:pt>
                <c:pt idx="4">
                  <c:v>0.03133407318322808</c:v>
                </c:pt>
                <c:pt idx="5">
                  <c:v>0.022553350082554775</c:v>
                </c:pt>
                <c:pt idx="6">
                  <c:v>0.019946642480836108</c:v>
                </c:pt>
                <c:pt idx="7">
                  <c:v>0.018266262021013148</c:v>
                </c:pt>
                <c:pt idx="8">
                  <c:v>0.01671211862812476</c:v>
                </c:pt>
                <c:pt idx="9">
                  <c:v>0.0159335606649118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Wave Top Unscented Blue 60l 20ct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Magnum Flex Draw Tape Unscented 60l 10ct (2.9%)</c:v>
                </c:pt>
                <c:pt idx="2">
                  <c:v>Jan Niezbedny Wave Top Unscented Blue 35l 36ct (3.3%)</c:v>
                </c:pt>
                <c:pt idx="3">
                  <c:v>Jan Niezbedny T-Shirt Scented Purple 60l 20ct (1.6%)</c:v>
                </c:pt>
                <c:pt idx="4">
                  <c:v>Jan Niezbedny Magnum Flex Draw Tape Unscented 35l 15ct (3.7%)</c:v>
                </c:pt>
                <c:pt idx="5">
                  <c:v>Stella Wave Top Scented lavender Purple 60l 16ct (1.7%)</c:v>
                </c:pt>
                <c:pt idx="6">
                  <c:v>Stella Wave Top Unscented 35l 30ct (3.6%)</c:v>
                </c:pt>
                <c:pt idx="7">
                  <c:v>Stella Wave Top Scented lavender Purple 35l 24ct (1.9%)</c:v>
                </c:pt>
                <c:pt idx="8">
                  <c:v>Stella Wave Top Unscented 35l 4x10ct (1.3%)</c:v>
                </c:pt>
                <c:pt idx="9">
                  <c:v>Jan Niezbedny T-Shirt Scented 35l 30ct (1.4%)</c:v>
                </c:pt>
              </c:strCache>
            </c:strRef>
          </c:cat>
          <c:val>
            <c:numRef>
              <c:f>Sheet1!$B$2:$B$11</c:f>
              <c:numCache>
                <c:formatCode>General</c:formatCode>
                <c:ptCount val="10"/>
                <c:pt idx="0">
                  <c:v>0.056552437125844776</c:v>
                </c:pt>
                <c:pt idx="1">
                  <c:v>0.04693669375470401</c:v>
                </c:pt>
                <c:pt idx="2">
                  <c:v>0.04148303397853764</c:v>
                </c:pt>
                <c:pt idx="3">
                  <c:v>0.03932740158734853</c:v>
                </c:pt>
                <c:pt idx="4">
                  <c:v>0.024283586504102804</c:v>
                </c:pt>
                <c:pt idx="5">
                  <c:v>0.023195532948601938</c:v>
                </c:pt>
                <c:pt idx="6">
                  <c:v>0.017484078922858047</c:v>
                </c:pt>
                <c:pt idx="7">
                  <c:v>0.015812603938449982</c:v>
                </c:pt>
                <c:pt idx="8">
                  <c:v>0.014436970419914735</c:v>
                </c:pt>
                <c:pt idx="9">
                  <c:v>0.01365578658845181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Jan Niezbedny Wave Top Unscented 120l 15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Jan Niezbedny Magnum Flex Draw Tape Unscented 60l 10ct (2.9%)</c:v>
                </c:pt>
                <c:pt idx="2">
                  <c:v>Stella Wave Top Unscented 60l Durable 20ct (2.9%)</c:v>
                </c:pt>
                <c:pt idx="3">
                  <c:v>Jan Niezbedny Wave Top Unscented Blue 35l 36ct (3.3%)</c:v>
                </c:pt>
                <c:pt idx="4">
                  <c:v>Stella Wave Top Scented lavender Purple 60l 16ct (1.7%)</c:v>
                </c:pt>
                <c:pt idx="5">
                  <c:v>Jan Niezbedny Magnum Flex Draw Tape Unscented 35l 15ct (3.7%)</c:v>
                </c:pt>
                <c:pt idx="6">
                  <c:v>Jan Niezbedny Flat Top Unscented 120l 25ct (0.3%)</c:v>
                </c:pt>
                <c:pt idx="7">
                  <c:v>Stella Wave Top Unscented 35l 30ct (3.6%)</c:v>
                </c:pt>
                <c:pt idx="8">
                  <c:v>Jan Niezbedny T-Shirt Scented Purple 60l 20ct (1.6%)</c:v>
                </c:pt>
                <c:pt idx="9">
                  <c:v>Jan Niezbedny Flat Top Unscented 240l 8ct (0.4%)</c:v>
                </c:pt>
              </c:strCache>
            </c:strRef>
          </c:cat>
          <c:val>
            <c:numRef>
              <c:f>Sheet1!$B$2:$B$11</c:f>
              <c:numCache>
                <c:formatCode>General</c:formatCode>
                <c:ptCount val="10"/>
                <c:pt idx="0">
                  <c:v>0.0963385179279606</c:v>
                </c:pt>
                <c:pt idx="1">
                  <c:v>0.056799738529529006</c:v>
                </c:pt>
                <c:pt idx="2">
                  <c:v>0.05437676555224255</c:v>
                </c:pt>
                <c:pt idx="3">
                  <c:v>0.04778015006848052</c:v>
                </c:pt>
                <c:pt idx="4">
                  <c:v>0.03639711126740888</c:v>
                </c:pt>
                <c:pt idx="5">
                  <c:v>0.03077243497857825</c:v>
                </c:pt>
                <c:pt idx="6">
                  <c:v>0.022820248473321657</c:v>
                </c:pt>
                <c:pt idx="7">
                  <c:v>0.022220048084003113</c:v>
                </c:pt>
                <c:pt idx="8">
                  <c:v>0.0190734545161804</c:v>
                </c:pt>
                <c:pt idx="9">
                  <c:v>0.0187708318112115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Jan Niezbedny Wave Top Unscented 120l 15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60l 20ct (2.6%)</c:v>
                </c:pt>
                <c:pt idx="1">
                  <c:v>Stella Wave Top Unscented 60l Durable 20ct (2.9%)</c:v>
                </c:pt>
                <c:pt idx="2">
                  <c:v>Jan Niezbedny Wave Top Unscented Blue 35l 36ct (3.3%)</c:v>
                </c:pt>
                <c:pt idx="3">
                  <c:v>Stella Wave Top Scented lavender Purple 60l 16ct (1.7%)</c:v>
                </c:pt>
                <c:pt idx="4">
                  <c:v>Jan Niezbedny Magnum Flex Draw Tape Unscented 60l 10ct (2.9%)</c:v>
                </c:pt>
                <c:pt idx="5">
                  <c:v>Stella Wave Top Unscented 35l 30ct (3.6%)</c:v>
                </c:pt>
                <c:pt idx="6">
                  <c:v>Jan Niezbedny Magnum Flex Draw Tape Unscented 35l 15ct (3.7%)</c:v>
                </c:pt>
                <c:pt idx="7">
                  <c:v>Jan Niezbedny Flat Top Unscented 120l 25ct (0.3%)</c:v>
                </c:pt>
                <c:pt idx="8">
                  <c:v>Jan Niezbedny T-Shirt Scented Purple 60l 20ct (1.6%)</c:v>
                </c:pt>
                <c:pt idx="9">
                  <c:v>Stella Wave Top Scented lavender Purple 35l 24ct (1.9%)</c:v>
                </c:pt>
              </c:strCache>
            </c:strRef>
          </c:cat>
          <c:val>
            <c:numRef>
              <c:f>Sheet1!$B$2:$B$11</c:f>
              <c:numCache>
                <c:formatCode>General</c:formatCode>
                <c:ptCount val="10"/>
                <c:pt idx="0">
                  <c:v>0.10583744977660613</c:v>
                </c:pt>
                <c:pt idx="1">
                  <c:v>0.054458719522660924</c:v>
                </c:pt>
                <c:pt idx="2">
                  <c:v>0.046020745391704095</c:v>
                </c:pt>
                <c:pt idx="3">
                  <c:v>0.03643948017864537</c:v>
                </c:pt>
                <c:pt idx="4">
                  <c:v>0.034732395026319744</c:v>
                </c:pt>
                <c:pt idx="5">
                  <c:v>0.027364641943580372</c:v>
                </c:pt>
                <c:pt idx="6">
                  <c:v>0.022736208841621853</c:v>
                </c:pt>
                <c:pt idx="7">
                  <c:v>0.01936190618505514</c:v>
                </c:pt>
                <c:pt idx="8">
                  <c:v>0.018878988493802186</c:v>
                </c:pt>
                <c:pt idx="9">
                  <c:v>0.0169536169178278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Draw Tape Scented Fresh 35l 15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Stella Wave Top Unscented 35l 30ct (3.6%)</c:v>
                </c:pt>
                <c:pt idx="2">
                  <c:v>Jan Niezbedny Wave Top Unscented Blue 35l 36ct (3.3%)</c:v>
                </c:pt>
                <c:pt idx="3">
                  <c:v>Stella Wave Top Unscented 60l Durable 20ct (2.9%)</c:v>
                </c:pt>
                <c:pt idx="4">
                  <c:v>Jan Niezbedny Magnum Flex Draw Tape Unscented 35l 15ct (3.7%)</c:v>
                </c:pt>
                <c:pt idx="5">
                  <c:v>Stella Wave Top Scented lavender Purple 60l 16ct (1.7%)</c:v>
                </c:pt>
                <c:pt idx="6">
                  <c:v>Jan Niezbedny Wave Top Unscented Blue 60l 20ct (2.6%)</c:v>
                </c:pt>
                <c:pt idx="7">
                  <c:v>Jan Niezbedny Wave Top Unscented 15l 26ct (0.5%)</c:v>
                </c:pt>
                <c:pt idx="8">
                  <c:v>Stella Wave Top Unscented 35l 4x10ct (1.3%)</c:v>
                </c:pt>
                <c:pt idx="9">
                  <c:v>Jan Niezbedny Magnum Flex Draw Tape Unscented 60l 10ct (2.9%)</c:v>
                </c:pt>
              </c:strCache>
            </c:strRef>
          </c:cat>
          <c:val>
            <c:numRef>
              <c:f>Sheet1!$B$2:$B$11</c:f>
              <c:numCache>
                <c:formatCode>General</c:formatCode>
                <c:ptCount val="10"/>
                <c:pt idx="0">
                  <c:v>0.05514603144444592</c:v>
                </c:pt>
                <c:pt idx="1">
                  <c:v>0.04684714163495385</c:v>
                </c:pt>
                <c:pt idx="2">
                  <c:v>0.04168050939752996</c:v>
                </c:pt>
                <c:pt idx="3">
                  <c:v>0.03975042656871055</c:v>
                </c:pt>
                <c:pt idx="4">
                  <c:v>0.03496429339852751</c:v>
                </c:pt>
                <c:pt idx="5">
                  <c:v>0.033044295889153794</c:v>
                </c:pt>
                <c:pt idx="6">
                  <c:v>0.0294124974975573</c:v>
                </c:pt>
                <c:pt idx="7">
                  <c:v>0.029394790641184262</c:v>
                </c:pt>
                <c:pt idx="8">
                  <c:v>0.026897844027059883</c:v>
                </c:pt>
                <c:pt idx="9">
                  <c:v>0.0243397718396373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Draw Tape Scented Fresh 35l 15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Stella Wave Top Unscented 35l 30ct (3.6%)</c:v>
                </c:pt>
                <c:pt idx="2">
                  <c:v>Stella Wave Top Unscented 60l Durable 20ct (2.9%)</c:v>
                </c:pt>
                <c:pt idx="3">
                  <c:v>Jan Niezbedny Wave Top Unscented Blue 35l 36ct (3.3%)</c:v>
                </c:pt>
                <c:pt idx="4">
                  <c:v>Stella Wave Top Scented lavender Purple 60l 16ct (1.7%)</c:v>
                </c:pt>
                <c:pt idx="5">
                  <c:v>Jan Niezbedny Wave Top Unscented Blue 60l 20ct (2.6%)</c:v>
                </c:pt>
                <c:pt idx="6">
                  <c:v>Stella Wave Top Unscented 35l 4x10ct (1.3%)</c:v>
                </c:pt>
                <c:pt idx="7">
                  <c:v>Jan Niezbedny Wave Top Unscented 15l 26ct (0.5%)</c:v>
                </c:pt>
                <c:pt idx="8">
                  <c:v>Jan Niezbedny Magnum Flex Draw Tape Unscented 35l 15ct (3.7%)</c:v>
                </c:pt>
                <c:pt idx="9">
                  <c:v>Jan Niezbedny T-Shirt Scented Purple 60l 20ct (1.6%)</c:v>
                </c:pt>
              </c:strCache>
            </c:strRef>
          </c:cat>
          <c:val>
            <c:numRef>
              <c:f>Sheet1!$B$2:$B$11</c:f>
              <c:numCache>
                <c:formatCode>General</c:formatCode>
                <c:ptCount val="10"/>
                <c:pt idx="0">
                  <c:v>0.05746768583734553</c:v>
                </c:pt>
                <c:pt idx="1">
                  <c:v>0.04973894553766228</c:v>
                </c:pt>
                <c:pt idx="2">
                  <c:v>0.042006824397669534</c:v>
                </c:pt>
                <c:pt idx="3">
                  <c:v>0.03438298336073625</c:v>
                </c:pt>
                <c:pt idx="4">
                  <c:v>0.034021379158065954</c:v>
                </c:pt>
                <c:pt idx="5">
                  <c:v>0.029088512670181504</c:v>
                </c:pt>
                <c:pt idx="6">
                  <c:v>0.028566287530063156</c:v>
                </c:pt>
                <c:pt idx="7">
                  <c:v>0.0277253993020656</c:v>
                </c:pt>
                <c:pt idx="8">
                  <c:v>0.02701863309713053</c:v>
                </c:pt>
                <c:pt idx="9">
                  <c:v>0.0251601665367606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Draw Tape Scented lavender Purple 35l 15ct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Jan Niezbedny Magnum Flex Draw Tape Unscented 35l 15ct (3.7%)</c:v>
                </c:pt>
                <c:pt idx="2">
                  <c:v>Stella Wave Top Scented lavender Purple 60l 16ct (1.7%)</c:v>
                </c:pt>
                <c:pt idx="3">
                  <c:v>Stella Wave Top Unscented 35l 30ct (3.6%)</c:v>
                </c:pt>
                <c:pt idx="4">
                  <c:v>Jan Niezbedny Wave Top Unscented Blue 35l 36ct (3.3%)</c:v>
                </c:pt>
                <c:pt idx="5">
                  <c:v>Stella Wave Top Unscented 60l Durable 20ct (2.9%)</c:v>
                </c:pt>
                <c:pt idx="6">
                  <c:v>Stella Draw Tape Scented lavender Purple 60l 10ct (1.1%)</c:v>
                </c:pt>
                <c:pt idx="7">
                  <c:v>Stella Wave Top Unscented 35l 4x10ct (1.3%)</c:v>
                </c:pt>
                <c:pt idx="8">
                  <c:v>Jan Niezbedny Magnum Flex Draw Tape Scented lavender 60l 8ct (0.8%)</c:v>
                </c:pt>
                <c:pt idx="9">
                  <c:v>Jan Niezbedny Magnum Flex Draw Tape Scented lavender 35l 12ct (0.6%)</c:v>
                </c:pt>
              </c:strCache>
            </c:strRef>
          </c:cat>
          <c:val>
            <c:numRef>
              <c:f>Sheet1!$B$2:$B$11</c:f>
              <c:numCache>
                <c:formatCode>General</c:formatCode>
                <c:ptCount val="10"/>
                <c:pt idx="0">
                  <c:v>0.06822407435157472</c:v>
                </c:pt>
                <c:pt idx="1">
                  <c:v>0.05538184967507239</c:v>
                </c:pt>
                <c:pt idx="2">
                  <c:v>0.03973723981506445</c:v>
                </c:pt>
                <c:pt idx="3">
                  <c:v>0.03968953456196531</c:v>
                </c:pt>
                <c:pt idx="4">
                  <c:v>0.029921507815743396</c:v>
                </c:pt>
                <c:pt idx="5">
                  <c:v>0.029528273612617582</c:v>
                </c:pt>
                <c:pt idx="6">
                  <c:v>0.027016435509417406</c:v>
                </c:pt>
                <c:pt idx="7">
                  <c:v>0.0218784658998404</c:v>
                </c:pt>
                <c:pt idx="8">
                  <c:v>0.019856622170693724</c:v>
                </c:pt>
                <c:pt idx="9">
                  <c:v>0.0197114619551014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Draw Tape Scented lavender Purple 35l 15ct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35l 24ct (1.9%)</c:v>
                </c:pt>
                <c:pt idx="1">
                  <c:v>Stella Wave Top Scented lavender Purple 60l 16ct (1.7%)</c:v>
                </c:pt>
                <c:pt idx="2">
                  <c:v>Jan Niezbedny Magnum Flex Draw Tape Unscented 35l 15ct (3.7%)</c:v>
                </c:pt>
                <c:pt idx="3">
                  <c:v>Stella Wave Top Unscented 35l 30ct (3.6%)</c:v>
                </c:pt>
                <c:pt idx="4">
                  <c:v>Stella Wave Top Unscented 60l Durable 20ct (2.9%)</c:v>
                </c:pt>
                <c:pt idx="5">
                  <c:v>Stella Draw Tape Scented lavender Purple 60l 10ct (1.1%)</c:v>
                </c:pt>
                <c:pt idx="6">
                  <c:v>Jan Niezbedny T-Shirt Scented Purple 60l 20ct (1.6%)</c:v>
                </c:pt>
                <c:pt idx="7">
                  <c:v>Stella Wave Top Unscented 35l 4x10ct (1.3%)</c:v>
                </c:pt>
                <c:pt idx="8">
                  <c:v>Jan Niezbedny T-Shirt Scented 35l 30ct (1.4%)</c:v>
                </c:pt>
                <c:pt idx="9">
                  <c:v>Jan Niezbedny Wave Top Unscented Blue 35l 36ct (3.3%)</c:v>
                </c:pt>
              </c:strCache>
            </c:strRef>
          </c:cat>
          <c:val>
            <c:numRef>
              <c:f>Sheet1!$B$2:$B$11</c:f>
              <c:numCache>
                <c:formatCode>General</c:formatCode>
                <c:ptCount val="10"/>
                <c:pt idx="0">
                  <c:v>0.07331512077228701</c:v>
                </c:pt>
                <c:pt idx="1">
                  <c:v>0.0441751005174441</c:v>
                </c:pt>
                <c:pt idx="2">
                  <c:v>0.04038494513790513</c:v>
                </c:pt>
                <c:pt idx="3">
                  <c:v>0.04023996201822851</c:v>
                </c:pt>
                <c:pt idx="4">
                  <c:v>0.03247836478052941</c:v>
                </c:pt>
                <c:pt idx="5">
                  <c:v>0.02821246321823046</c:v>
                </c:pt>
                <c:pt idx="6">
                  <c:v>0.022629864631643237</c:v>
                </c:pt>
                <c:pt idx="7">
                  <c:v>0.022369353445738222</c:v>
                </c:pt>
                <c:pt idx="8">
                  <c:v>0.021362735666384854</c:v>
                </c:pt>
                <c:pt idx="9">
                  <c:v>0.0208283146202091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refour (1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Zosia Samosia (36.5%)</c:v>
                </c:pt>
                <c:pt idx="1">
                  <c:v>Jan Niezbedny (20.2%)</c:v>
                </c:pt>
                <c:pt idx="2">
                  <c:v>Stella (16.1%)</c:v>
                </c:pt>
                <c:pt idx="3">
                  <c:v>Paclan (2.9%)</c:v>
                </c:pt>
                <c:pt idx="4">
                  <c:v>Anna Zaradna (3.2%)</c:v>
                </c:pt>
                <c:pt idx="5">
                  <c:v>Grosik (1.1%)</c:v>
                </c:pt>
                <c:pt idx="6">
                  <c:v>Vi Go! (2.2%)</c:v>
                </c:pt>
                <c:pt idx="7">
                  <c:v>Ravi (1.1%)</c:v>
                </c:pt>
              </c:strCache>
            </c:strRef>
          </c:cat>
          <c:val>
            <c:numRef>
              <c:f>Sheet1!$B$2:$B$9</c:f>
              <c:numCache>
                <c:formatCode>General</c:formatCode>
                <c:ptCount val="8"/>
                <c:pt idx="0">
                  <c:v>0.4488710044586679</c:v>
                </c:pt>
                <c:pt idx="1">
                  <c:v>0.18596835683599872</c:v>
                </c:pt>
                <c:pt idx="2">
                  <c:v>0.18279662240748779</c:v>
                </c:pt>
                <c:pt idx="3">
                  <c:v>0.06343128187969431</c:v>
                </c:pt>
                <c:pt idx="4">
                  <c:v>0.039941741119133393</c:v>
                </c:pt>
                <c:pt idx="5">
                  <c:v>0.031411315751368296</c:v>
                </c:pt>
                <c:pt idx="6">
                  <c:v>0.02483453628786925</c:v>
                </c:pt>
                <c:pt idx="7">
                  <c:v>0.0227451412597915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Draw Tape Scented Vanilla Latte 35l 15c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Wave Top Unscented Blue 35l 36ct (3.3%)</c:v>
                </c:pt>
                <c:pt idx="1">
                  <c:v>Stella Wave Top Unscented 35l 30ct (3.6%)</c:v>
                </c:pt>
                <c:pt idx="2">
                  <c:v>Jan Niezbedny Magnum Flex Draw Tape Unscented 35l 15ct (3.7%)</c:v>
                </c:pt>
                <c:pt idx="3">
                  <c:v>Stella Wave Top Scented lavender Purple 35l 24ct (1.9%)</c:v>
                </c:pt>
                <c:pt idx="4">
                  <c:v>Jan Niezbedny Wave Top Unscented 15l 26ct (0.5%)</c:v>
                </c:pt>
                <c:pt idx="5">
                  <c:v>Stella Wave Top Unscented 35l 4x10ct (1.3%)</c:v>
                </c:pt>
                <c:pt idx="6">
                  <c:v>Stella Wave Top Unscented 60l Durable 20ct (2.9%)</c:v>
                </c:pt>
                <c:pt idx="7">
                  <c:v>Stella Draw Tape Scented lavender Purple 60l 10ct (1.1%)</c:v>
                </c:pt>
                <c:pt idx="8">
                  <c:v>Jan Niezbedny T-Shirt Scented 35l 30ct (1.4%)</c:v>
                </c:pt>
                <c:pt idx="9">
                  <c:v>Jan Niezbedny Magnum Flex Draw Tape Unscented 60l 10ct (2.9%)</c:v>
                </c:pt>
              </c:strCache>
            </c:strRef>
          </c:cat>
          <c:val>
            <c:numRef>
              <c:f>Sheet1!$B$2:$B$11</c:f>
              <c:numCache>
                <c:formatCode>General</c:formatCode>
                <c:ptCount val="10"/>
                <c:pt idx="0">
                  <c:v>0.058602127642998034</c:v>
                </c:pt>
                <c:pt idx="1">
                  <c:v>0.04827054997781447</c:v>
                </c:pt>
                <c:pt idx="2">
                  <c:v>0.04330470220943149</c:v>
                </c:pt>
                <c:pt idx="3">
                  <c:v>0.030466637127085878</c:v>
                </c:pt>
                <c:pt idx="4">
                  <c:v>0.027230508864545856</c:v>
                </c:pt>
                <c:pt idx="5">
                  <c:v>0.024879827668038104</c:v>
                </c:pt>
                <c:pt idx="6">
                  <c:v>0.02187090809816416</c:v>
                </c:pt>
                <c:pt idx="7">
                  <c:v>0.021565129784912235</c:v>
                </c:pt>
                <c:pt idx="8">
                  <c:v>0.021114892426953604</c:v>
                </c:pt>
                <c:pt idx="9">
                  <c:v>0.01944026043660795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Draw Tape Scented Vanilla Latte 35l 15c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Jan Niezbedny Wave Top Unscented Blue 35l 36ct (3.3%)</c:v>
                </c:pt>
                <c:pt idx="2">
                  <c:v>Jan Niezbedny Magnum Flex Draw Tape Unscented 35l 15ct (3.7%)</c:v>
                </c:pt>
                <c:pt idx="3">
                  <c:v>Stella Wave Top Scented lavender Purple 35l 24ct (1.9%)</c:v>
                </c:pt>
                <c:pt idx="4">
                  <c:v>Stella Wave Top Unscented 35l 4x10ct (1.3%)</c:v>
                </c:pt>
                <c:pt idx="5">
                  <c:v>Jan Niezbedny Wave Top Unscented 15l 26ct (0.5%)</c:v>
                </c:pt>
                <c:pt idx="6">
                  <c:v>Stella Wave Top Unscented 60l Durable 20ct (2.9%)</c:v>
                </c:pt>
                <c:pt idx="7">
                  <c:v>Stella Draw Tape Scented lavender Purple 60l 10ct (1.1%)</c:v>
                </c:pt>
                <c:pt idx="8">
                  <c:v>Jan Niezbedny T-Shirt Scented 35l 30ct (1.4%)</c:v>
                </c:pt>
                <c:pt idx="9">
                  <c:v>Stella Wave Top Scented lavender Purple 60l 16ct (1.7%)</c:v>
                </c:pt>
              </c:strCache>
            </c:strRef>
          </c:cat>
          <c:val>
            <c:numRef>
              <c:f>Sheet1!$B$2:$B$11</c:f>
              <c:numCache>
                <c:formatCode>General</c:formatCode>
                <c:ptCount val="10"/>
                <c:pt idx="0">
                  <c:v>0.04884053064583875</c:v>
                </c:pt>
                <c:pt idx="1">
                  <c:v>0.04687053468534324</c:v>
                </c:pt>
                <c:pt idx="2">
                  <c:v>0.03312643841330002</c:v>
                </c:pt>
                <c:pt idx="3">
                  <c:v>0.03302355388483956</c:v>
                </c:pt>
                <c:pt idx="4">
                  <c:v>0.027052941519914102</c:v>
                </c:pt>
                <c:pt idx="5">
                  <c:v>0.025817250539782025</c:v>
                </c:pt>
                <c:pt idx="6">
                  <c:v>0.0249028902578147</c:v>
                </c:pt>
                <c:pt idx="7">
                  <c:v>0.02453773734736291</c:v>
                </c:pt>
                <c:pt idx="8">
                  <c:v>0.022177056993675778</c:v>
                </c:pt>
                <c:pt idx="9">
                  <c:v>0.0177353504977706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Draw Tape Scented Fresh 60l 10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Wave Top Unscented Blue 60l 20ct (2.6%)</c:v>
                </c:pt>
                <c:pt idx="2">
                  <c:v>Stella Wave Top Unscented 60l Durable 20ct (2.9%)</c:v>
                </c:pt>
                <c:pt idx="3">
                  <c:v>Stella Wave Top Scented lavender Purple 60l 16ct (1.7%)</c:v>
                </c:pt>
                <c:pt idx="4">
                  <c:v>Jan Niezbedny Wave Top Unscented Blue 35l 36ct (3.3%)</c:v>
                </c:pt>
                <c:pt idx="5">
                  <c:v>Stella Draw Tape Scented lavender Purple 60l 10ct (1.1%)</c:v>
                </c:pt>
                <c:pt idx="6">
                  <c:v>Stella Wave Top Unscented 35l 30ct (3.6%)</c:v>
                </c:pt>
                <c:pt idx="7">
                  <c:v>Stella Wave Top Scented Vanilla latte Beige 60l 16ct (0.8%)</c:v>
                </c:pt>
                <c:pt idx="8">
                  <c:v>Jan Niezbedny Magnum Flex Draw Tape Unscented 35l 15ct (3.7%)</c:v>
                </c:pt>
                <c:pt idx="9">
                  <c:v>Stella Draw Tape Scented Vanilla Latte 60l 10ct (0.7%)</c:v>
                </c:pt>
              </c:strCache>
            </c:strRef>
          </c:cat>
          <c:val>
            <c:numRef>
              <c:f>Sheet1!$B$2:$B$11</c:f>
              <c:numCache>
                <c:formatCode>General</c:formatCode>
                <c:ptCount val="10"/>
                <c:pt idx="0">
                  <c:v>0.05986486303361052</c:v>
                </c:pt>
                <c:pt idx="1">
                  <c:v>0.056329121266220944</c:v>
                </c:pt>
                <c:pt idx="2">
                  <c:v>0.05386430498948963</c:v>
                </c:pt>
                <c:pt idx="3">
                  <c:v>0.03445038839879483</c:v>
                </c:pt>
                <c:pt idx="4">
                  <c:v>0.030194807143833772</c:v>
                </c:pt>
                <c:pt idx="5">
                  <c:v>0.025480786792521002</c:v>
                </c:pt>
                <c:pt idx="6">
                  <c:v>0.02442687021882663</c:v>
                </c:pt>
                <c:pt idx="7">
                  <c:v>0.02412826523018177</c:v>
                </c:pt>
                <c:pt idx="8">
                  <c:v>0.0210049194554779</c:v>
                </c:pt>
                <c:pt idx="9">
                  <c:v>0.0204925069365495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Draw Tape Scented Fresh 60l 10ct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60l Durable 20ct (2.9%)</c:v>
                </c:pt>
                <c:pt idx="1">
                  <c:v>Jan Niezbedny Wave Top Unscented Blue 60l 20ct (2.6%)</c:v>
                </c:pt>
                <c:pt idx="2">
                  <c:v>Jan Niezbedny Magnum Flex Draw Tape Unscented 60l 10ct (2.9%)</c:v>
                </c:pt>
                <c:pt idx="3">
                  <c:v>Stella Wave Top Unscented 35l 30ct (3.6%)</c:v>
                </c:pt>
                <c:pt idx="4">
                  <c:v>Stella Wave Top Scented lavender Purple 60l 16ct (1.7%)</c:v>
                </c:pt>
                <c:pt idx="5">
                  <c:v>Jan Niezbedny Wave Top Unscented Blue 35l 36ct (3.3%)</c:v>
                </c:pt>
                <c:pt idx="6">
                  <c:v>Stella Draw Tape Scented lavender Purple 60l 10ct (1.1%)</c:v>
                </c:pt>
                <c:pt idx="7">
                  <c:v>Stella Draw Tape Scented Vanilla Latte 60l 10ct (0.7%)</c:v>
                </c:pt>
                <c:pt idx="8">
                  <c:v>Stella Wave Top Scented Vanilla latte Beige 60l 16ct (0.8%)</c:v>
                </c:pt>
                <c:pt idx="9">
                  <c:v>Jan Niezbedny T-Shirt Scented Purple 60l 20ct (1.6%)</c:v>
                </c:pt>
              </c:strCache>
            </c:strRef>
          </c:cat>
          <c:val>
            <c:numRef>
              <c:f>Sheet1!$B$2:$B$11</c:f>
              <c:numCache>
                <c:formatCode>General</c:formatCode>
                <c:ptCount val="10"/>
                <c:pt idx="0">
                  <c:v>0.05222966482010705</c:v>
                </c:pt>
                <c:pt idx="1">
                  <c:v>0.05127096325538078</c:v>
                </c:pt>
                <c:pt idx="2">
                  <c:v>0.033858313961001245</c:v>
                </c:pt>
                <c:pt idx="3">
                  <c:v>0.032582451408426666</c:v>
                </c:pt>
                <c:pt idx="4">
                  <c:v>0.032481292362718225</c:v>
                </c:pt>
                <c:pt idx="5">
                  <c:v>0.03064588623289231</c:v>
                </c:pt>
                <c:pt idx="6">
                  <c:v>0.024097455439850604</c:v>
                </c:pt>
                <c:pt idx="7">
                  <c:v>0.022968418747815127</c:v>
                </c:pt>
                <c:pt idx="8">
                  <c:v>0.021236125165239827</c:v>
                </c:pt>
                <c:pt idx="9">
                  <c:v>0.01810415967467769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Draw Tape Scented Vanilla Latte 60l 10c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Magnum Flex Draw Tape Unscented 60l 10ct (2.9%)</c:v>
                </c:pt>
                <c:pt idx="1">
                  <c:v>Jan Niezbedny Wave Top Unscented Blue 60l 20ct (2.6%)</c:v>
                </c:pt>
                <c:pt idx="2">
                  <c:v>Stella Wave Top Scented lavender Purple 60l 16ct (1.7%)</c:v>
                </c:pt>
                <c:pt idx="3">
                  <c:v>Jan Niezbedny Magnum Flex Draw Tape Unscented 35l 15ct (3.7%)</c:v>
                </c:pt>
                <c:pt idx="4">
                  <c:v>Stella Wave Top Unscented 35l 30ct (3.6%)</c:v>
                </c:pt>
                <c:pt idx="5">
                  <c:v>Stella Draw Tape Scented lavender Purple 60l 10ct (1.1%)</c:v>
                </c:pt>
                <c:pt idx="6">
                  <c:v>Jan Niezbedny Wave Top Unscented Blue 35l 36ct (3.3%)</c:v>
                </c:pt>
                <c:pt idx="7">
                  <c:v>Stella Wave Top Unscented 60l Durable 20ct (2.9%)</c:v>
                </c:pt>
                <c:pt idx="8">
                  <c:v>Stella Wave Top Scented Vanilla latte Beige 60l 16ct (0.8%)</c:v>
                </c:pt>
                <c:pt idx="9">
                  <c:v>Stella Wave Top Scented lavender Purple 35l 24ct (1.9%)</c:v>
                </c:pt>
              </c:strCache>
            </c:strRef>
          </c:cat>
          <c:val>
            <c:numRef>
              <c:f>Sheet1!$B$2:$B$11</c:f>
              <c:numCache>
                <c:formatCode>General</c:formatCode>
                <c:ptCount val="10"/>
                <c:pt idx="0">
                  <c:v>0.04984749178334137</c:v>
                </c:pt>
                <c:pt idx="1">
                  <c:v>0.03444995046045848</c:v>
                </c:pt>
                <c:pt idx="2">
                  <c:v>0.03366101343864667</c:v>
                </c:pt>
                <c:pt idx="3">
                  <c:v>0.031813520573006654</c:v>
                </c:pt>
                <c:pt idx="4">
                  <c:v>0.031502931873684074</c:v>
                </c:pt>
                <c:pt idx="5">
                  <c:v>0.03126367599028632</c:v>
                </c:pt>
                <c:pt idx="6">
                  <c:v>0.028897987869326344</c:v>
                </c:pt>
                <c:pt idx="7">
                  <c:v>0.02598814695084252</c:v>
                </c:pt>
                <c:pt idx="8">
                  <c:v>0.021863787952945832</c:v>
                </c:pt>
                <c:pt idx="9">
                  <c:v>0.02059786059791784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Draw Tape Scented Vanilla Latte 60l 10c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Unscented 35l 30ct (3.6%)</c:v>
                </c:pt>
                <c:pt idx="1">
                  <c:v>Stella Wave Top Scented lavender Purple 60l 16ct (1.7%)</c:v>
                </c:pt>
                <c:pt idx="2">
                  <c:v>Stella Draw Tape Scented lavender Purple 60l 10ct (1.1%)</c:v>
                </c:pt>
                <c:pt idx="3">
                  <c:v>Jan Niezbedny Wave Top Unscented Blue 60l 20ct (2.6%)</c:v>
                </c:pt>
                <c:pt idx="4">
                  <c:v>Jan Niezbedny Magnum Flex Draw Tape Unscented 60l 10ct (2.9%)</c:v>
                </c:pt>
                <c:pt idx="5">
                  <c:v>Stella Wave Top Scented lavender Purple 35l 24ct (1.9%)</c:v>
                </c:pt>
                <c:pt idx="6">
                  <c:v>Stella Wave Top Unscented 60l Durable 20ct (2.9%)</c:v>
                </c:pt>
                <c:pt idx="7">
                  <c:v>Jan Niezbedny Magnum Flex Draw Tape Unscented 35l 15ct (3.7%)</c:v>
                </c:pt>
                <c:pt idx="8">
                  <c:v>Jan Niezbedny Wave Top Unscented Blue 35l 36ct (3.3%)</c:v>
                </c:pt>
                <c:pt idx="9">
                  <c:v>Stella Wave Top Scented Vanilla latte Beige 60l 16ct (0.8%)</c:v>
                </c:pt>
              </c:strCache>
            </c:strRef>
          </c:cat>
          <c:val>
            <c:numRef>
              <c:f>Sheet1!$B$2:$B$11</c:f>
              <c:numCache>
                <c:formatCode>General</c:formatCode>
                <c:ptCount val="10"/>
                <c:pt idx="0">
                  <c:v>0.037877983711983025</c:v>
                </c:pt>
                <c:pt idx="1">
                  <c:v>0.03282871017651601</c:v>
                </c:pt>
                <c:pt idx="2">
                  <c:v>0.03194172350867044</c:v>
                </c:pt>
                <c:pt idx="3">
                  <c:v>0.030982282549268658</c:v>
                </c:pt>
                <c:pt idx="4">
                  <c:v>0.02711029217599257</c:v>
                </c:pt>
                <c:pt idx="5">
                  <c:v>0.026570630798496777</c:v>
                </c:pt>
                <c:pt idx="6">
                  <c:v>0.025907807000928117</c:v>
                </c:pt>
                <c:pt idx="7">
                  <c:v>0.025656651955223615</c:v>
                </c:pt>
                <c:pt idx="8">
                  <c:v>0.02511785085636043</c:v>
                </c:pt>
                <c:pt idx="9">
                  <c:v>0.0193714879102435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Draw Tape Scented lavender Purple 60l 10ct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60l 16ct (1.7%)</c:v>
                </c:pt>
                <c:pt idx="1">
                  <c:v>Jan Niezbedny T-Shirt Scented Purple 60l 20ct (1.6%)</c:v>
                </c:pt>
                <c:pt idx="2">
                  <c:v>Jan Niezbedny Wave Top Unscented Blue 60l 20ct (2.6%)</c:v>
                </c:pt>
                <c:pt idx="3">
                  <c:v>Jan Niezbedny Magnum Flex Draw Tape Unscented 60l 10ct (2.9%)</c:v>
                </c:pt>
                <c:pt idx="4">
                  <c:v>Stella Wave Top Unscented 60l Durable 20ct (2.9%)</c:v>
                </c:pt>
                <c:pt idx="5">
                  <c:v>Jan Niezbedny Magnum Flex Draw Tape Scented lavender 60l 8ct (0.8%)</c:v>
                </c:pt>
                <c:pt idx="6">
                  <c:v>Stella Wave Top Scented lavender Purple 35l 24ct (1.9%)</c:v>
                </c:pt>
                <c:pt idx="7">
                  <c:v>Stella Wave Top Scented Vanilla latte Beige 60l 16ct (0.8%)</c:v>
                </c:pt>
                <c:pt idx="8">
                  <c:v>Jan Niezbedny Magnum Flex Draw Tape Unscented 35l 15ct (3.7%)</c:v>
                </c:pt>
                <c:pt idx="9">
                  <c:v>Stella Draw Tape Scented Vanilla Latte 60l 10ct (0.7%)</c:v>
                </c:pt>
              </c:strCache>
            </c:strRef>
          </c:cat>
          <c:val>
            <c:numRef>
              <c:f>Sheet1!$B$2:$B$11</c:f>
              <c:numCache>
                <c:formatCode>General</c:formatCode>
                <c:ptCount val="10"/>
                <c:pt idx="0">
                  <c:v>0.07312192677053647</c:v>
                </c:pt>
                <c:pt idx="1">
                  <c:v>0.05524842354259493</c:v>
                </c:pt>
                <c:pt idx="2">
                  <c:v>0.04463887588373348</c:v>
                </c:pt>
                <c:pt idx="3">
                  <c:v>0.0389279194792457</c:v>
                </c:pt>
                <c:pt idx="4">
                  <c:v>0.038383463784673486</c:v>
                </c:pt>
                <c:pt idx="5">
                  <c:v>0.03791357996461307</c:v>
                </c:pt>
                <c:pt idx="6">
                  <c:v>0.03249572492864102</c:v>
                </c:pt>
                <c:pt idx="7">
                  <c:v>0.027222047138953924</c:v>
                </c:pt>
                <c:pt idx="8">
                  <c:v>0.01852321683699364</c:v>
                </c:pt>
                <c:pt idx="9">
                  <c:v>0.0179212764396245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Draw Tape Scented lavender Purple 60l 10ct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60l 16ct (1.7%)</c:v>
                </c:pt>
                <c:pt idx="1">
                  <c:v>Jan Niezbedny T-Shirt Scented Purple 60l 20ct (1.6%)</c:v>
                </c:pt>
                <c:pt idx="2">
                  <c:v>Stella Wave Top Scented lavender Purple 35l 24ct (1.9%)</c:v>
                </c:pt>
                <c:pt idx="3">
                  <c:v>Jan Niezbedny Wave Top Unscented Blue 60l 20ct (2.6%)</c:v>
                </c:pt>
                <c:pt idx="4">
                  <c:v>Stella Wave Top Unscented 60l Durable 20ct (2.9%)</c:v>
                </c:pt>
                <c:pt idx="5">
                  <c:v>Jan Niezbedny Magnum Flex Draw Tape Scented lavender 60l 8ct (0.8%)</c:v>
                </c:pt>
                <c:pt idx="6">
                  <c:v>Stella Wave Top Scented Vanilla latte Beige 60l 16ct (0.8%)</c:v>
                </c:pt>
                <c:pt idx="7">
                  <c:v>Jan Niezbedny Magnum Flex Draw Tape Unscented 60l 10ct (2.9%)</c:v>
                </c:pt>
                <c:pt idx="8">
                  <c:v>Stella Draw Tape Scented Vanilla Latte 60l 10ct (0.7%)</c:v>
                </c:pt>
                <c:pt idx="9">
                  <c:v>Stella Draw Tape Scented lavender Purple 35l 15ct (0.6%)</c:v>
                </c:pt>
              </c:strCache>
            </c:strRef>
          </c:cat>
          <c:val>
            <c:numRef>
              <c:f>Sheet1!$B$2:$B$11</c:f>
              <c:numCache>
                <c:formatCode>General</c:formatCode>
                <c:ptCount val="10"/>
                <c:pt idx="0">
                  <c:v>0.06264767989861364</c:v>
                </c:pt>
                <c:pt idx="1">
                  <c:v>0.05509729141565084</c:v>
                </c:pt>
                <c:pt idx="2">
                  <c:v>0.045078593976312455</c:v>
                </c:pt>
                <c:pt idx="3">
                  <c:v>0.037095962854685985</c:v>
                </c:pt>
                <c:pt idx="4">
                  <c:v>0.03585381659879674</c:v>
                </c:pt>
                <c:pt idx="5">
                  <c:v>0.027219384627859663</c:v>
                </c:pt>
                <c:pt idx="6">
                  <c:v>0.022825702332294463</c:v>
                </c:pt>
                <c:pt idx="7">
                  <c:v>0.019727835805623962</c:v>
                </c:pt>
                <c:pt idx="8">
                  <c:v>0.019547891088301603</c:v>
                </c:pt>
                <c:pt idx="9">
                  <c:v>0.01777292540068377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tella Draw Tape Scented lavender Purple 120l 10ct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Jan Niezbedny T-Shirt Scented Purple 60l 20ct (1.6%)</c:v>
                </c:pt>
                <c:pt idx="1">
                  <c:v>Stella Wave Top Scented lavender Purple 60l 16ct (1.7%)</c:v>
                </c:pt>
                <c:pt idx="2">
                  <c:v>Stella Wave Top Unscented 60l Durable 20ct (2.9%)</c:v>
                </c:pt>
                <c:pt idx="3">
                  <c:v>Stella Draw Tape Scented lavender Purple 60l 10ct (1.1%)</c:v>
                </c:pt>
                <c:pt idx="4">
                  <c:v>Stella Wave Top Scented lavender Purple 35l 24ct (1.9%)</c:v>
                </c:pt>
                <c:pt idx="5">
                  <c:v>Jan Niezbedny Wave Top Unscented Blue 60l 20ct (2.6%)</c:v>
                </c:pt>
                <c:pt idx="6">
                  <c:v>Stella Wave Top Unscented 35l 4x10ct (1.3%)</c:v>
                </c:pt>
                <c:pt idx="7">
                  <c:v>Jan Niezbedny Magnum Flex Draw Tape Scented lavender 60l 8ct (0.8%)</c:v>
                </c:pt>
                <c:pt idx="8">
                  <c:v>Stella Draw Tape Scented lavender Purple 35l 15ct (0.6%)</c:v>
                </c:pt>
                <c:pt idx="9">
                  <c:v>Jan Niezbedny Magnum Flex Draw Tape Unscented 60l 10ct (2.9%)</c:v>
                </c:pt>
              </c:strCache>
            </c:strRef>
          </c:cat>
          <c:val>
            <c:numRef>
              <c:f>Sheet1!$B$2:$B$11</c:f>
              <c:numCache>
                <c:formatCode>General</c:formatCode>
                <c:ptCount val="10"/>
                <c:pt idx="0">
                  <c:v>0.07560312301451207</c:v>
                </c:pt>
                <c:pt idx="1">
                  <c:v>0.06432192846764762</c:v>
                </c:pt>
                <c:pt idx="2">
                  <c:v>0.05905602549046552</c:v>
                </c:pt>
                <c:pt idx="3">
                  <c:v>0.04536543990743021</c:v>
                </c:pt>
                <c:pt idx="4">
                  <c:v>0.04194953906512963</c:v>
                </c:pt>
                <c:pt idx="5">
                  <c:v>0.03598737236946887</c:v>
                </c:pt>
                <c:pt idx="6">
                  <c:v>0.026767087734299505</c:v>
                </c:pt>
                <c:pt idx="7">
                  <c:v>0.025574488639330397</c:v>
                </c:pt>
                <c:pt idx="8">
                  <c:v>0.023608657648380577</c:v>
                </c:pt>
                <c:pt idx="9">
                  <c:v>0.02279302944425969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tella Draw Tape Scented lavender Purple 120l 10ct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ella Wave Top Scented lavender Purple 60l 16ct (1.7%)</c:v>
                </c:pt>
                <c:pt idx="1">
                  <c:v>Jan Niezbedny T-Shirt Scented Purple 60l 20ct (1.6%)</c:v>
                </c:pt>
                <c:pt idx="2">
                  <c:v>Stella Wave Top Unscented 60l Durable 20ct (2.9%)</c:v>
                </c:pt>
                <c:pt idx="3">
                  <c:v>Stella Draw Tape Scented lavender Purple 60l 10ct (1.1%)</c:v>
                </c:pt>
                <c:pt idx="4">
                  <c:v>Jan Niezbedny Wave Top Unscented Blue 60l 20ct (2.6%)</c:v>
                </c:pt>
                <c:pt idx="5">
                  <c:v>Jan Niezbedny Magnum Flex Draw Tape Unscented 60l 10ct (2.9%)</c:v>
                </c:pt>
                <c:pt idx="6">
                  <c:v>Jan Niezbedny Magnum Flex Draw Tape Scented lavender 60l 8ct (0.8%)</c:v>
                </c:pt>
                <c:pt idx="7">
                  <c:v>Stella Wave Top Scented lavender Purple 35l 24ct (1.9%)</c:v>
                </c:pt>
                <c:pt idx="8">
                  <c:v>Stella Draw Tape Scented lavender Purple 35l 15ct (0.6%)</c:v>
                </c:pt>
                <c:pt idx="9">
                  <c:v>Jan Niezbedny Magnum Flex Draw Tape Unscented 35l 15ct (3.7%)</c:v>
                </c:pt>
              </c:strCache>
            </c:strRef>
          </c:cat>
          <c:val>
            <c:numRef>
              <c:f>Sheet1!$B$2:$B$11</c:f>
              <c:numCache>
                <c:formatCode>General</c:formatCode>
                <c:ptCount val="10"/>
                <c:pt idx="0">
                  <c:v>0.08680857367560474</c:v>
                </c:pt>
                <c:pt idx="1">
                  <c:v>0.07261008903373893</c:v>
                </c:pt>
                <c:pt idx="2">
                  <c:v>0.06627003390644509</c:v>
                </c:pt>
                <c:pt idx="3">
                  <c:v>0.06259692679533622</c:v>
                </c:pt>
                <c:pt idx="4">
                  <c:v>0.042073764307245194</c:v>
                </c:pt>
                <c:pt idx="5">
                  <c:v>0.038580718979329284</c:v>
                </c:pt>
                <c:pt idx="6">
                  <c:v>0.03385662990446576</c:v>
                </c:pt>
                <c:pt idx="7">
                  <c:v>0.030042638777205317</c:v>
                </c:pt>
                <c:pt idx="8">
                  <c:v>0.025219218940328404</c:v>
                </c:pt>
                <c:pt idx="9">
                  <c:v>0.0228297916396692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3/01/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1/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1/2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1/2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1/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1/2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1/2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1/2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1/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1/2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1/23/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1/2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1/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1/23/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xml"/><Relationship Id="rId3" Type="http://schemas.openxmlformats.org/officeDocument/2006/relationships/chart" Target="../charts/chart15.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4.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xml"/><Relationship Id="rId3" Type="http://schemas.openxmlformats.org/officeDocument/2006/relationships/chart" Target="../charts/chart1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xml"/><Relationship Id="rId3" Type="http://schemas.openxmlformats.org/officeDocument/2006/relationships/chart" Target="../charts/chart19.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2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2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2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2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2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xml"/><Relationship Id="rId3" Type="http://schemas.openxmlformats.org/officeDocument/2006/relationships/chart" Target="../charts/char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xml"/><Relationship Id="rId3" Type="http://schemas.openxmlformats.org/officeDocument/2006/relationships/chart" Target="../charts/char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xml"/><Relationship Id="rId3" Type="http://schemas.openxmlformats.org/officeDocument/2006/relationships/chart" Target="../charts/char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xml"/><Relationship Id="rId3" Type="http://schemas.openxmlformats.org/officeDocument/2006/relationships/chart" Target="../charts/char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xml"/><Relationship Id="rId3" Type="http://schemas.openxmlformats.org/officeDocument/2006/relationships/chart" Target="../charts/char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xml"/><Relationship Id="rId3" Type="http://schemas.openxmlformats.org/officeDocument/2006/relationships/chart" Target="../charts/chart3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xml"/><Relationship Id="rId3" Type="http://schemas.openxmlformats.org/officeDocument/2006/relationships/chart" Target="../charts/char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xml"/><Relationship Id="rId3" Type="http://schemas.openxmlformats.org/officeDocument/2006/relationships/chart" Target="../charts/chart3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xml"/><Relationship Id="rId3" Type="http://schemas.openxmlformats.org/officeDocument/2006/relationships/chart" Target="../charts/chart3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xml"/><Relationship Id="rId3" Type="http://schemas.openxmlformats.org/officeDocument/2006/relationships/chart" Target="../charts/chart3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xml"/><Relationship Id="rId3" Type="http://schemas.openxmlformats.org/officeDocument/2006/relationships/chart" Target="../charts/chart4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xml"/><Relationship Id="rId3" Type="http://schemas.openxmlformats.org/officeDocument/2006/relationships/chart" Target="../charts/chart4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xml"/><Relationship Id="rId3" Type="http://schemas.openxmlformats.org/officeDocument/2006/relationships/chart" Target="../charts/chart4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6.xml"/><Relationship Id="rId3" Type="http://schemas.openxmlformats.org/officeDocument/2006/relationships/chart" Target="../charts/chart4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8.xml"/><Relationship Id="rId3" Type="http://schemas.openxmlformats.org/officeDocument/2006/relationships/chart" Target="../charts/chart4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0.xml"/><Relationship Id="rId3" Type="http://schemas.openxmlformats.org/officeDocument/2006/relationships/chart" Target="../charts/chart5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2.xml"/><Relationship Id="rId3" Type="http://schemas.openxmlformats.org/officeDocument/2006/relationships/chart" Target="../charts/chart5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4.xml"/><Relationship Id="rId3" Type="http://schemas.openxmlformats.org/officeDocument/2006/relationships/chart" Target="../charts/chart5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6.xml"/><Relationship Id="rId3" Type="http://schemas.openxmlformats.org/officeDocument/2006/relationships/chart" Target="../charts/chart5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8.xml"/><Relationship Id="rId3" Type="http://schemas.openxmlformats.org/officeDocument/2006/relationships/chart" Target="../charts/chart5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0.xml"/><Relationship Id="rId3" Type="http://schemas.openxmlformats.org/officeDocument/2006/relationships/chart" Target="../charts/chart6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2.xml"/><Relationship Id="rId3" Type="http://schemas.openxmlformats.org/officeDocument/2006/relationships/chart" Target="../charts/chart6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4.xml"/><Relationship Id="rId3" Type="http://schemas.openxmlformats.org/officeDocument/2006/relationships/chart" Target="../charts/chart6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6.xml"/><Relationship Id="rId3" Type="http://schemas.openxmlformats.org/officeDocument/2006/relationships/chart" Target="../charts/chart6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8.xml"/><Relationship Id="rId3" Type="http://schemas.openxmlformats.org/officeDocument/2006/relationships/chart" Target="../charts/chart6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0.xml"/><Relationship Id="rId3" Type="http://schemas.openxmlformats.org/officeDocument/2006/relationships/chart" Target="../charts/chart7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2.xml"/><Relationship Id="rId3" Type="http://schemas.openxmlformats.org/officeDocument/2006/relationships/chart" Target="../charts/chart7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4.xml"/><Relationship Id="rId3" Type="http://schemas.openxmlformats.org/officeDocument/2006/relationships/chart" Target="../charts/chart7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6.xml"/><Relationship Id="rId3" Type="http://schemas.openxmlformats.org/officeDocument/2006/relationships/chart" Target="../charts/chart7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8.xml"/><Relationship Id="rId3" Type="http://schemas.openxmlformats.org/officeDocument/2006/relationships/chart" Target="../charts/chart7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0.xml"/><Relationship Id="rId3" Type="http://schemas.openxmlformats.org/officeDocument/2006/relationships/chart" Target="../charts/chart8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2.xml"/><Relationship Id="rId3" Type="http://schemas.openxmlformats.org/officeDocument/2006/relationships/chart" Target="../charts/chart8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4.xml"/><Relationship Id="rId3" Type="http://schemas.openxmlformats.org/officeDocument/2006/relationships/chart" Target="../charts/chart8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6.xml"/><Relationship Id="rId3" Type="http://schemas.openxmlformats.org/officeDocument/2006/relationships/chart" Target="../charts/chart8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8.xml"/><Relationship Id="rId3" Type="http://schemas.openxmlformats.org/officeDocument/2006/relationships/chart" Target="../charts/chart8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0.xml"/><Relationship Id="rId3" Type="http://schemas.openxmlformats.org/officeDocument/2006/relationships/chart" Target="../charts/chart9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2.xml"/><Relationship Id="rId3" Type="http://schemas.openxmlformats.org/officeDocument/2006/relationships/chart" Target="../charts/chart9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4.xml"/><Relationship Id="rId3" Type="http://schemas.openxmlformats.org/officeDocument/2006/relationships/chart" Target="../charts/chart9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6.xml"/><Relationship Id="rId3" Type="http://schemas.openxmlformats.org/officeDocument/2006/relationships/chart" Target="../charts/chart9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8.xml"/><Relationship Id="rId3" Type="http://schemas.openxmlformats.org/officeDocument/2006/relationships/chart" Target="../charts/chart9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0.xml"/><Relationship Id="rId3" Type="http://schemas.openxmlformats.org/officeDocument/2006/relationships/chart" Target="../charts/chart10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2.xml"/><Relationship Id="rId3" Type="http://schemas.openxmlformats.org/officeDocument/2006/relationships/chart" Target="../charts/chart10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4.xml"/><Relationship Id="rId3" Type="http://schemas.openxmlformats.org/officeDocument/2006/relationships/chart" Target="../charts/chart10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6.xml"/><Relationship Id="rId3" Type="http://schemas.openxmlformats.org/officeDocument/2006/relationships/chart" Target="../charts/chart10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8.xml"/><Relationship Id="rId3" Type="http://schemas.openxmlformats.org/officeDocument/2006/relationships/chart" Target="../charts/chart10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0.xml"/><Relationship Id="rId3" Type="http://schemas.openxmlformats.org/officeDocument/2006/relationships/chart" Target="../charts/chart1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2.xml"/><Relationship Id="rId3" Type="http://schemas.openxmlformats.org/officeDocument/2006/relationships/chart" Target="../charts/chart1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xml"/><Relationship Id="rId3" Type="http://schemas.openxmlformats.org/officeDocument/2006/relationships/chart" Target="../charts/char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4.xml"/><Relationship Id="rId3" Type="http://schemas.openxmlformats.org/officeDocument/2006/relationships/chart" Target="../charts/chart11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6.xml"/><Relationship Id="rId3" Type="http://schemas.openxmlformats.org/officeDocument/2006/relationships/chart" Target="../charts/chart11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xml"/><Relationship Id="rId3" Type="http://schemas.openxmlformats.org/officeDocument/2006/relationships/chart" Target="../charts/chart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xml"/><Relationship Id="rId3" Type="http://schemas.openxmlformats.org/officeDocument/2006/relationships/chart" Target="../charts/chart1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xml"/><Relationship Id="rId3" Type="http://schemas.openxmlformats.org/officeDocument/2006/relationships/chart" Target="../charts/chart1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National</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00765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aclan (2.9%)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22019406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T-Shirt Scented 35l 3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8371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1197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402360" y="1458000"/>
            <a:ext cx="26564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60588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189466823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T-Shirt Scented Purple 60l 2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p:cNvSpPr/>
          <p:nvPr/>
        </p:nvSpPr>
        <p:spPr>
          <a:xfrm>
            <a:off x="97200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67640" y="1458000"/>
            <a:ext cx="1017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3850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762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40236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98492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8" name="Rectangle 27"/>
          <p:cNvSpPr/>
          <p:nvPr/>
        </p:nvSpPr>
        <p:spPr>
          <a:xfrm>
            <a:off x="622836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53122229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Wave Top Unscented 15l 26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45888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639792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817843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ędny Easy-Pack Wave Top Cherry 35L 26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554560" y="1458000"/>
            <a:ext cx="6217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1762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402360" y="1458000"/>
            <a:ext cx="169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57192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419720" y="1458000"/>
            <a:ext cx="2204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931485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Wave Top Unscented Blue 35l 3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
        <p:nvSpPr>
          <p:cNvPr id="22" name="Rectangle 21"/>
          <p:cNvSpPr/>
          <p:nvPr/>
        </p:nvSpPr>
        <p:spPr>
          <a:xfrm>
            <a:off x="97200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70676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36320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9335353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Wave Top Unscented Blue 35l 36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22" name="Rectangle 21"/>
          <p:cNvSpPr/>
          <p:nvPr/>
        </p:nvSpPr>
        <p:spPr>
          <a:xfrm>
            <a:off x="97200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70676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36320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7246475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ędny Easy-Pack Wave Top Cherry 60L 18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p:cNvSpPr/>
          <p:nvPr/>
        </p:nvSpPr>
        <p:spPr>
          <a:xfrm>
            <a:off x="97200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70676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23280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549360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3278822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Wave Top Unscented Blue 60l 2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169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549360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716213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Wave Top Unscented 120l 15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35034463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Draw Tape Scented Fresh 35l 15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2939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7023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116813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avi (1.1%)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346660565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Draw Tape Scented lavender Purple 35l 15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2939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7023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50809029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Draw Tape Scented Vanilla Latte 35l 15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
        <p:nvSpPr>
          <p:cNvPr id="22" name="Rectangle 21"/>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1112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72412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40236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7023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01360807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Draw Tape Scented Fresh 6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22" name="Rectangle 21"/>
          <p:cNvSpPr/>
          <p:nvPr/>
        </p:nvSpPr>
        <p:spPr>
          <a:xfrm>
            <a:off x="972000" y="1458000"/>
            <a:ext cx="3730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7023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47284336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Draw Tape Scented Vanilla Latte 6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p:cNvSpPr/>
          <p:nvPr/>
        </p:nvSpPr>
        <p:spPr>
          <a:xfrm>
            <a:off x="972000" y="1458000"/>
            <a:ext cx="3730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7023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28262554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Draw Tape Scented lavender Purple 6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72412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47023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122383399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Draw Tape Scented lavender Purple 12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22" name="Rectangle 21"/>
          <p:cNvSpPr/>
          <p:nvPr/>
        </p:nvSpPr>
        <p:spPr>
          <a:xfrm>
            <a:off x="972000" y="1458000"/>
            <a:ext cx="2599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571920" y="1458000"/>
            <a:ext cx="3052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15267399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Wave Top Scented Fruit Beige 15l 3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p:cNvSpPr/>
          <p:nvPr/>
        </p:nvSpPr>
        <p:spPr>
          <a:xfrm>
            <a:off x="97200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45888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798000" y="1458000"/>
            <a:ext cx="2204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6002280" y="1458000"/>
            <a:ext cx="6217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1955378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Wave Top Unscented 35l 4x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
        <p:nvSpPr>
          <p:cNvPr id="22" name="Rectangle 21"/>
          <p:cNvSpPr/>
          <p:nvPr/>
        </p:nvSpPr>
        <p:spPr>
          <a:xfrm>
            <a:off x="972000" y="1458000"/>
            <a:ext cx="5538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6510960" y="1458000"/>
            <a:ext cx="113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29478890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Wave Top Unscented 35l 3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8932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2844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64768462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Wave Top Scented lavender Purple 35l 24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55456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441972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388487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tella (16.1%)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143175983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Wave Top Unscented 60l Plastic 14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22" name="Rectangle 21"/>
          <p:cNvSpPr/>
          <p:nvPr/>
        </p:nvSpPr>
        <p:spPr>
          <a:xfrm>
            <a:off x="972000" y="1458000"/>
            <a:ext cx="3165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13712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64051392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Wave Top Unscented 60l Durable 2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p:cNvSpPr/>
          <p:nvPr/>
        </p:nvSpPr>
        <p:spPr>
          <a:xfrm>
            <a:off x="972000" y="1458000"/>
            <a:ext cx="2486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458880" y="1458000"/>
            <a:ext cx="10173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47624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5211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4091029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Wave Top Scented Vanilla latte Beige 60l 16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
        <p:nvSpPr>
          <p:cNvPr id="22" name="Rectangle 21"/>
          <p:cNvSpPr/>
          <p:nvPr/>
        </p:nvSpPr>
        <p:spPr>
          <a:xfrm>
            <a:off x="972000" y="1458000"/>
            <a:ext cx="389987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871880" y="1458000"/>
            <a:ext cx="904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776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1521746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tella Wave Top Scented lavender Purple 60l 16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p:cNvSpPr/>
          <p:nvPr/>
        </p:nvSpPr>
        <p:spPr>
          <a:xfrm>
            <a:off x="9720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4156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1932840" y="1458000"/>
            <a:ext cx="3730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566316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645444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25523517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National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3.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Anna Zaradna Wave Top Scented Floral Blue 35l 2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Jan Niezbędny Elastic draw tape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85639990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National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3.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Anna Zaradna Wave Top Scented Floral Blue 35l 2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Jan Niezbędny Elastic draw tape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75143692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National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3.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Anna Zaradna Wave Top Scented Floral Blue 35l 2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Jan Niezbędny Elastic draw tape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22852434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National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3.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Anna Zaradna Wave Top Scented Floral Blue 35l 2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Jan Niezbędny Elastic draw tape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251155269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National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t>SE Slide</a:t>
            </a:r>
            <a:r>
              <a:rPr lang="en-US" dirty="0"/>
              <a:t> </a:t>
            </a:r>
            <a:r>
              <a:rPr lang="en-US" dirty="0">
                <a:solidFill>
                  <a:schemeClr val="bg2">
                    <a:lumMod val="90000"/>
                  </a:schemeClr>
                </a:solidFill>
              </a:rPr>
              <a:t>(Replace with So What)</a:t>
            </a:r>
            <a:endParaRPr lang="en-GB" dirty="0">
              <a:solidFill>
                <a:schemeClr val="bg2">
                  <a:lumMod val="90000"/>
                </a:schemeClr>
              </a:solidFill>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Anna Zaradna Flat Top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3.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Anna Zaradna Flat Top Unscented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Anna Zaradna Flat Top Unscented 12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Anna Zaradna Flat Top Unscented 24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Anna Zaradna Wave Top Scented Floral Blue 20l 3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Anna Zaradna Wave Top Scented Floral Blue 35l 2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Anna Zaradna Wave Top Scented Floral Blue 60l 10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Jan Niezbędny Magnum Flex Odor Lock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Jan Niezbedny Magnum Flex Draw Tape Scented lavender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Jan Niezbedny Magnum Flex Draw Tape Unscented 35l 15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Jan Niezbędny Elastic draw tape 35l 12ct</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3/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2615015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i Go! (2.2%)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9702762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Zosia Samosia (36.5%)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516814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nna Zaradna Flat Top Unscented 35l 15ct (0.9%)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2893238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60l 1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120l 10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Anna Zaradna Flat Top Unscented 120l 10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Anna Zaradna Wave Top Scented Floral Blue 60l 1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nna Zaradna Flat Top Unscented 60l 10ct (0.7%)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742716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nna Zaradna Flat Top Unscented 120l 10ct (0.4%)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5665545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nna Zaradna Flat Top Unscented 240l 10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1630994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nna Zaradna Wave Top Scented Floral Blue 20l 30ct (0.1%)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477992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Flat Top | National</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1216737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nna Zaradna Wave Top Scented Floral Blue 35l 20ct (0.5%)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041727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nna Zaradna Wave Top Scented Floral Blue 60l 10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161882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ędny Magnum Flex Odor Lock 35l 15ct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37734693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Magnum Flex Draw Tape Scented lavender 35l 12ct (0.6%)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8612785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Magnum Flex Draw Tape Unscented 35l 15ct (3.7%)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40032550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ędny Elastic draw tape 35l 12ct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082680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ędny Magnum Flex Odor Lock 60l 10ct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2780173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Magnum Flex Draw Tape Scented lavender 60l 8ct (0.8%)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367215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120l 10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Draw Tape Unscented 60l 4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Flat Top Unscented 240l 8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Magnum Flex Draw Tape Unscented 60l 10ct (2.9%)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3404334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Magnum Flex Draw Tape Unscented 60l 3x10ct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514522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Wave Top | National</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604267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Draw Tape Unscented 60l 40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6819529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60l 1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ędny Elastic draw tape 60l 8ct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186154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Magnum Flex Draw Tape Unscented 120l 8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21439678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120l 15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Wave Top Unscented 120l 15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Flat Top Unscented 120l 25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6848604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Flat Top Unscented 240l 8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120l 10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Flat Top Unscented 240l 8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Anna Zaradna Flat Top Unscented 120l 10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Flat Top Unscented 160l 20ct (0.1%)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16129783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Flat Top Unscented 240l 8ct (0.4%)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4523340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35l 15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15l 26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Draw Tape Scented Vanilla Latte 35l 15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T-Shirt Scented Yellow 20l 30ct (0.8%)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41275968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T-Shirt Scented 35l 30ct (1.4%)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0964760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T-Shirt Scented Purple 60l 20ct (1.6%)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3111403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35l 15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Draw Tape Scented Vanilla Latte 35l 15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Wave Top Unscented 15l 26ct (0.5%)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4245152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Draw Tape | National</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3773377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ędny Easy-Pack Wave Top Cherry 35L 26ct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6059110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35l 15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Wave Top Unscented Blue 35l 30ct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8983444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35l 15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Wave Top Unscented Blue 35l 36ct (3.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2811712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ędny Easy-Pack Wave Top Cherry 60L 18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0524777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Wave Top Unscented Blue 60l 20ct (2.6%)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6314170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Flat Top Unscented 120l 25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Flat Top Unscented 240l 8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Flat Top Unscented 120l 25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Jan Niezbedny Wave Top Unscented 120l 15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6796376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15l 26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Wave Top Unscented 15l 26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Draw Tape Scented Fresh 35l 15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7240350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Draw Tape Scented lavender Purple 35l 15ct (0.6%)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8485656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15l 26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15l 26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Draw Tape Scented Vanilla Latte 35l 15ct (0.7%)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5392426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Draw Tape Scented Fresh 60l 10ct (0.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2021949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Tie-handle | National</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t>Brand Elasticity Analysis</a:t>
            </a:r>
            <a:r>
              <a:rPr lang="en-US" dirty="0"/>
              <a:t> </a:t>
            </a:r>
            <a:r>
              <a:rPr lang="en-US" dirty="0">
                <a:solidFill>
                  <a:schemeClr val="bg2">
                    <a:lumMod val="90000"/>
                  </a:schemeClr>
                </a:solidFill>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3/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4999188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Draw Tape Scented Vanilla Latte 60l 10ct (0.7%)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36595411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Draw Tape Scented lavender Purple 60l 10ct (1.1%)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8129858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Draw Tape Scented lavender Purple 120l 10ct (0.1%)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29193630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Anna Zaradna Flat Top Unscented 120l 10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Wave Top Scented Fruit Beige 15l 30ct (0.1%)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0743966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35l 15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15l 26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Wave Top Unscented 35l 4x10ct (1.3%)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7224966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15l 26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T-Shirt Scented Yellow 20l 30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Wave Top Unscented 35l 30ct (3.6%)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1986665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Draw Tape Scented lavender Purple 35l 15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Wave Top Unscented 15l 26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Wave Top Scented lavender Purple 35l 24ct (1.9%)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20762852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35l 30ct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Anna Zaradna Wave Top Scented Floral Blue 60l 1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Wave Top Unscented 60l Plastic 14ct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1941028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Wave Top Unscented 60l Durable 20ct (2.9%)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1844034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tella Wave Top Scented lavender Purple 60l 16c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tella Wave Top Unscented 35l 30ct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tella Draw Tape Scented Vanilla Latte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Wave Top Scented Vanilla latte Beige 60l 16ct (0.8%)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487881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nna Zaradna (3.2%)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3543861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Unscented 35l 4x10ct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Jan Niezbedny T-Shirt Scented Purple 60l 20ct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Jan Niezbedny Wave Top Unscented Blue 60l 20ct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tella Wave Top Unscented 60l Durable 2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tella Draw Tape Scented lavender Purple 60l 10ct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Jan Niezbedny Magnum Flex Draw Tape Unscented 60l 10ct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Jan Niezbedny Magnum Flex Draw Tape Scented lavender 60l 8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tella Wave Top Scented lavender Purple 35l 24ct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edny Wave Top Unscented Blue 35l 36ct (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tella Wave Top Scented Vanilla latte Beige 60l 16ct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tella Wave Top Scented lavender Purple 60l 16ct (1.7%)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8444028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120l 10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Flat Top Unscented 240l 1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20l 30ct (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Wave Top Scented Floral Blue 60l 1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ędny Magnum Flex Odor Lock 35l 15ct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Anna Zaradna Flat Top Unscented 35l 15c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Anna Zaradna Flat Top Unscented 60l 10ct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Anna Zaradna Flat Top Unscented 120l 10ct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Anna Zaradna Flat Top Unscented 240l 1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Anna Zaradna Wave Top Scented Floral Blue 20l 30ct (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Anna Zaradna Wave Top Scented Floral Blue 35l 20ct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Anna Zaradna Wave Top Scented Floral Blue 60l 10ct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Jan Niezbędny Magnum Flex Odor Lock 35l 15ct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Jan Niezbedny Magnum Flex Draw Tape Scented lavender 35l 12ct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Jan Niezbedny Magnum Flex Draw Tape Unscented 35l 15ct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none (0.0%)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Product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3/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20950162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Anna Flat Top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ANNA ZARADNA FLAT TOP UNSCENTED 35L 15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ANNA ZARADNA FLAT TOP UNSCENTED 6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ANNA ZARADNA FLAT TOP UNSCENTED 12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ANNA ZARADNA FLAT TOP UNSCENTED 24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576342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Anna Wave Top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ANNA ZARADNA WAVE TOP SCENTED FLORAL BLUE 20L 3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ANNA ZARADNA WAVE TOP SCENTED FLORAL BLUE 35L 2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ANNA ZARADNA WAVE TOP SCENTED FLORAL BLUE 6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161290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Jan Magnum Flex inno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JAN NIEZBĘDNY MAGNUM FLEX ODOR LOCK 35L 15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JAN NIEZBĘDNY MAGNUM FLEX ODOR LOCK 6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JAN NIEZBEDNY MAGNUM FLEX DRAW TAPE UNSCENTED 60L 3X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790325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Jan Magnum Flex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JAN NIEZBEDNY MAGNUM FLEX DRAW TAPE SCENTED LAVENDER 35L 12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JAN NIEZBEDNY MAGNUM FLEX DRAW TAPE UNSCENTED 35L 15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JAN NIEZBEDNY MAGNUM FLEX DRAW TAPE SCENTED LAVENDER 60L 8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JAN NIEZBEDNY MAGNUM FLEX DRAW TAPE UNSCENTED 6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JAN NIEZBEDNY MAGNUM FLEX DRAW TAPE UNSCENTED 120L 8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206146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Jan Elastic inno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JAN NIEZBĘDNY ELASTIC DRAW TAPE 35L 12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JAN NIEZBĘDNY ELASTIC DRAW TAPE 60L 8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431320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Jan Draw Tape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JAN NIEZBEDNY DRAW TAPE UNSCENTED 60L 4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387965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Jan Flat Top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JAN NIEZBEDNY FLAT TOP UNSCENTED 120L 25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JAN NIEZBEDNY FLAT TOP UNSCENTED 160L 2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JAN NIEZBEDNY FLAT TOP UNSCENTED 240L 8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782284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Jan T-Shirt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JAN NIEZBEDNY T-SHIRT SCENTED YELLOW 20L 3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JAN NIEZBEDNY T-SHIRT SCENTED 35L 3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JAN NIEZBEDNY T-SHIRT SCENTED PURPLE 60L 2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243365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refour (16.6%)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4298865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Jan Wave Top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JAN NIEZBEDNY WAVE TOP UNSCENTED 15L 26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JAN NIEZBEDNY WAVE TOP UNSCENTED BLUE 35L 36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JAN NIEZBĘDNY EASY-PACK WAVE TOP CHERRY 60L 18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JAN NIEZBEDNY WAVE TOP UNSCENTED BLUE 60L 2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8.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JAN NIEZBEDNY WAVE TOP UNSCENTED 120L 15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359052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Jan Wave Top inno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JAN NIEZBĘDNY EASY-PACK WAVE TOP CHERRY 35L 26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JAN NIEZBEDNY WAVE TOP UNSCENTED BLUE 35L 3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8916789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tella Draw Tape 35l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TELLA DRAW TAPE SCENTED FRESH 35L 15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TELLA DRAW TAPE SCENTED LAVENDER PURPLE 35L 15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TELLA DRAW TAPE SCENTED VANILLA LATTE 35L 15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720597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tella Draw Tape 60l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TELLA DRAW TAPE SCENTED FRESH 6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TELLA DRAW TAPE SCENTED VANILLA LATTE 6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TELLA DRAW TAPE SCENTED LAVENDER PURPLE 6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4.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391870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tella Draw Tape 120l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TELLA DRAW TAPE SCENTED LAVENDER PURPLE 120L 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729322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tella Wave Top 15l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TELLA WAVE TOP SCENTED FRUIT BEIGE 15L 3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903319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tella Wave Top 35l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TELLA WAVE TOP UNSCENTED 35L 4X1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TELLA WAVE TOP UNSCENTED 35L 3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3.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TELLA WAVE TOP SCENTED LAVENDER PURPLE 35L 24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1968164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tella Wave Top 60l | Price Elasticity | National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t>Price </a:t>
            </a:r>
            <a:r>
              <a:rPr lang="fr-CH" dirty="0" err="1"/>
              <a:t>Elasticity</a:t>
            </a:r>
            <a:r>
              <a:rPr lang="fr-CH" dirty="0"/>
              <a:t> </a:t>
            </a:r>
            <a:r>
              <a:rPr lang="fr-CH" dirty="0" err="1"/>
              <a:t>Curve</a:t>
            </a:r>
            <a:r>
              <a:rPr lang="en-US" dirty="0"/>
              <a:t> </a:t>
            </a:r>
            <a:r>
              <a:rPr lang="en-US" dirty="0">
                <a:solidFill>
                  <a:schemeClr val="bg2">
                    <a:lumMod val="90000"/>
                  </a:schemeClr>
                </a:solidFill>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TELLA WAVE TOP UNSCENTED 60L PLASTIC 14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TELLA WAVE TOP UNSCENTED 60L DURABLE 20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TELLA WAVE TOP SCENTED VANILLA LATTE BEIGE 60L 16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TELLA WAVE TOP SCENTED LAVENDER PURPLE 60L 16CT</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3/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5721084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nna Zaradna Flat Top Unscented 35l 15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22" name="Rectangle 21"/>
          <p:cNvSpPr/>
          <p:nvPr/>
        </p:nvSpPr>
        <p:spPr>
          <a:xfrm>
            <a:off x="972000" y="1458000"/>
            <a:ext cx="2430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40236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13712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55012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8839294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nna Zaradna Flat Top Unscented 6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22" name="Rectangle 21"/>
          <p:cNvSpPr/>
          <p:nvPr/>
        </p:nvSpPr>
        <p:spPr>
          <a:xfrm>
            <a:off x="97200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32848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40236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55012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13232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Jan Niezbedny (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rosik (1.1%)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4465281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nna Zaradna Flat Top Unscented 12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22" name="Rectangle 21"/>
          <p:cNvSpPr/>
          <p:nvPr/>
        </p:nvSpPr>
        <p:spPr>
          <a:xfrm>
            <a:off x="97200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19808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87632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554560" y="1458000"/>
            <a:ext cx="4069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51505154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nna Zaradna Flat Top Unscented 24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22" name="Rectangle 21"/>
          <p:cNvSpPr/>
          <p:nvPr/>
        </p:nvSpPr>
        <p:spPr>
          <a:xfrm>
            <a:off x="97200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967560" y="1458000"/>
            <a:ext cx="26564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0291305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nna Zaradna Wave Top Scented Floral Blue 20l 3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40236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13712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98492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935818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nna Zaradna Wave Top Scented Floral Blue 35l 2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22" name="Rectangle 21"/>
          <p:cNvSpPr/>
          <p:nvPr/>
        </p:nvSpPr>
        <p:spPr>
          <a:xfrm>
            <a:off x="97200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32848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7856824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nna Zaradna Wave Top Scented Floral Blue 6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40236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68496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98492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793412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ędny Magnum Flex Odor Lock 35l 15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22" name="Rectangle 21"/>
          <p:cNvSpPr/>
          <p:nvPr/>
        </p:nvSpPr>
        <p:spPr>
          <a:xfrm>
            <a:off x="9720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53720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40236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137120" y="1458000"/>
            <a:ext cx="2486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0679507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Magnum Flex Draw Tape Scented lavender 35l 12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22" name="Rectangle 21"/>
          <p:cNvSpPr/>
          <p:nvPr/>
        </p:nvSpPr>
        <p:spPr>
          <a:xfrm>
            <a:off x="9720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95020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3458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7980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7762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1578019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Magnum Flex Draw Tape Unscented 35l 15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22" name="Rectangle 21"/>
          <p:cNvSpPr/>
          <p:nvPr/>
        </p:nvSpPr>
        <p:spPr>
          <a:xfrm>
            <a:off x="9720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6502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95020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798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53240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57762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8671606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ędny Elastic draw tape 35l 12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22" name="Rectangle 21"/>
          <p:cNvSpPr/>
          <p:nvPr/>
        </p:nvSpPr>
        <p:spPr>
          <a:xfrm>
            <a:off x="9720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65024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27196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798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6890658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ędny Magnum Flex Odor Lock 6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22" name="Rectangle 21"/>
          <p:cNvSpPr/>
          <p:nvPr/>
        </p:nvSpPr>
        <p:spPr>
          <a:xfrm>
            <a:off x="9720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537200" y="1458000"/>
            <a:ext cx="3786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532404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60588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41554660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747">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747">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747">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747">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747">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747">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747">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1"/>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96551">
                <a:tc>
                  <a:txBody>
                    <a:bodyPr/>
                    <a:lstStyle/>
                    <a:p>
                      <a:pPr algn="ctr">
                        <a:defRPr sz="800">
                          <a:latin typeface="Nexa Bold"/>
                        </a:defRPr>
                      </a:pPr>
                      <a:r>
                        <a:rPr sz="800">
                          <a:latin typeface="Nexa Bold"/>
                        </a:rPr>
                        <a:t>Zosia Samosia (3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96551">
                <a:tc>
                  <a:txBody>
                    <a:bodyPr/>
                    <a:lstStyle/>
                    <a:p>
                      <a:pPr algn="ctr">
                        <a:defRPr sz="800">
                          <a:latin typeface="Nexa Bold"/>
                        </a:defRPr>
                      </a:pPr>
                      <a:r>
                        <a:rPr sz="800">
                          <a:latin typeface="Nexa Bold"/>
                        </a:rPr>
                        <a:t>Stella (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96551">
                <a:tc>
                  <a:txBody>
                    <a:bodyPr/>
                    <a:lstStyle/>
                    <a:p>
                      <a:pPr algn="ctr">
                        <a:defRPr sz="800">
                          <a:latin typeface="Nexa Bold"/>
                        </a:defRPr>
                      </a:pPr>
                      <a:r>
                        <a:rPr sz="800">
                          <a:latin typeface="Nexa Bold"/>
                        </a:rPr>
                        <a:t>Carrefour (1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96551">
                <a:tc>
                  <a:txBody>
                    <a:bodyPr/>
                    <a:lstStyle/>
                    <a:p>
                      <a:pPr algn="ctr">
                        <a:defRPr sz="800">
                          <a:latin typeface="Nexa Bold"/>
                        </a:defRPr>
                      </a:pPr>
                      <a:r>
                        <a:rPr sz="800">
                          <a:latin typeface="Nexa Bold"/>
                        </a:rPr>
                        <a:t>Anna Zaradna (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96551">
                <a:tc>
                  <a:txBody>
                    <a:bodyPr/>
                    <a:lstStyle/>
                    <a:p>
                      <a:pPr algn="ctr">
                        <a:defRPr sz="800">
                          <a:latin typeface="Nexa Bold"/>
                        </a:defRPr>
                      </a:pPr>
                      <a:r>
                        <a:rPr sz="800">
                          <a:latin typeface="Nexa Bold"/>
                        </a:rPr>
                        <a:t>Paclan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96551">
                <a:tc>
                  <a:txBody>
                    <a:bodyPr/>
                    <a:lstStyle/>
                    <a:p>
                      <a:pPr algn="ctr">
                        <a:defRPr sz="800">
                          <a:latin typeface="Nexa Bold"/>
                        </a:defRPr>
                      </a:pPr>
                      <a:r>
                        <a:rPr sz="800">
                          <a:latin typeface="Nexa Bold"/>
                        </a:rPr>
                        <a:t>Vi Go!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96551">
                <a:tc>
                  <a:txBody>
                    <a:bodyPr/>
                    <a:lstStyle/>
                    <a:p>
                      <a:pPr algn="ctr">
                        <a:defRPr sz="800">
                          <a:latin typeface="Nexa Bold"/>
                        </a:defRPr>
                      </a:pPr>
                      <a:r>
                        <a:rPr sz="800">
                          <a:latin typeface="Nexa Bold"/>
                        </a:rPr>
                        <a:t>Ravi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96551">
                <a:tc>
                  <a:txBody>
                    <a:bodyPr/>
                    <a:lstStyle/>
                    <a:p>
                      <a:pPr algn="ctr">
                        <a:defRPr sz="800">
                          <a:latin typeface="Nexa Bold"/>
                        </a:defRPr>
                      </a:pPr>
                      <a:r>
                        <a:rPr sz="800">
                          <a:latin typeface="Nexa Bold"/>
                        </a:rPr>
                        <a:t>Grosi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Jan Niezbedny (20.2%) | Up &amp; Down Pricing | National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t>Brand Sourcing Analysis </a:t>
            </a:r>
            <a:r>
              <a:rPr lang="en-US" dirty="0">
                <a:solidFill>
                  <a:schemeClr val="bg2">
                    <a:lumMod val="90000"/>
                  </a:schemeClr>
                </a:solidFill>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3/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128274041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Magnum Flex Draw Tape Scented lavender 60l 8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22" name="Rectangle 21"/>
          <p:cNvSpPr/>
          <p:nvPr/>
        </p:nvSpPr>
        <p:spPr>
          <a:xfrm>
            <a:off x="9720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6502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95020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798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3535934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Magnum Flex Draw Tape Unscented 60l 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22" name="Rectangle 21"/>
          <p:cNvSpPr/>
          <p:nvPr/>
        </p:nvSpPr>
        <p:spPr>
          <a:xfrm>
            <a:off x="97200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04588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95020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3278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6762911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Magnum Flex Draw Tape Unscented 60l 3x1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22" name="Rectangle 21"/>
          <p:cNvSpPr/>
          <p:nvPr/>
        </p:nvSpPr>
        <p:spPr>
          <a:xfrm>
            <a:off x="972000"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402360" y="1458000"/>
            <a:ext cx="322163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59048936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Draw Tape Unscented 60l 4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p:cNvSpPr/>
          <p:nvPr/>
        </p:nvSpPr>
        <p:spPr>
          <a:xfrm>
            <a:off x="972000"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402360" y="1458000"/>
            <a:ext cx="322163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983960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ędny Elastic draw tape 60l 8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
        <p:nvSpPr>
          <p:cNvPr id="22" name="Rectangle 21"/>
          <p:cNvSpPr/>
          <p:nvPr/>
        </p:nvSpPr>
        <p:spPr>
          <a:xfrm>
            <a:off x="9720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6502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95020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798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50125915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Magnum Flex Draw Tape Unscented 120l 8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2018287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Flat Top Unscented 120l 25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p:cNvSpPr/>
          <p:nvPr/>
        </p:nvSpPr>
        <p:spPr>
          <a:xfrm>
            <a:off x="972000"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402360" y="1458000"/>
            <a:ext cx="322163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66200648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Flat Top Unscented 160l 2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
        <p:nvSpPr>
          <p:cNvPr id="22" name="Rectangle 21"/>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063240" y="1458000"/>
            <a:ext cx="3560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8541015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Flat Top Unscented 240l 8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p:cNvSpPr/>
          <p:nvPr/>
        </p:nvSpPr>
        <p:spPr>
          <a:xfrm>
            <a:off x="972000"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402360" y="1458000"/>
            <a:ext cx="322163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89265328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November 2024</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Jan Niezbedny T-Shirt Scented Yellow 20l 30ct | National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t>Revenue Response Analysis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3/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402360" y="1458000"/>
            <a:ext cx="2430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583272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107562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3.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8185</Words>
  <Application>Microsoft Office PowerPoint</Application>
  <PresentationFormat>On-screen Show (16:9)</PresentationFormat>
  <Paragraphs>4588</Paragraphs>
  <Slides>128</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28</vt:i4>
      </vt:variant>
    </vt:vector>
  </HeadingPairs>
  <TitlesOfParts>
    <vt:vector size="139"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Raphaella ASHRAF</cp:lastModifiedBy>
  <cp:revision>13</cp:revision>
  <dcterms:created xsi:type="dcterms:W3CDTF">2024-07-08T12:09:12Z</dcterms:created>
  <dcterms:modified xsi:type="dcterms:W3CDTF">2025-01-23T08:5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